
<file path=[Content_Types].xml><?xml version="1.0" encoding="utf-8"?>
<Types xmlns="http://schemas.openxmlformats.org/package/2006/content-types">
  <Default Extension="tmp" ContentType="image/png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6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7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8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7.xml" ContentType="application/vnd.openxmlformats-officedocument.drawingml.chart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8.xml" ContentType="application/vnd.openxmlformats-officedocument.drawingml.chart+xml"/>
  <Override PartName="/ppt/notesSlides/notesSlide4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charts/chart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charts/chart12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3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4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5.xml" ContentType="application/vnd.openxmlformats-officedocument.presentationml.notesSlide+xml"/>
  <Override PartName="/ppt/charts/chart15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6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  <p:sldMasterId id="2147483681" r:id="rId3"/>
    <p:sldMasterId id="2147483691" r:id="rId4"/>
    <p:sldMasterId id="2147483802" r:id="rId5"/>
    <p:sldMasterId id="2147483810" r:id="rId6"/>
    <p:sldMasterId id="2147483817" r:id="rId7"/>
    <p:sldMasterId id="2147483825" r:id="rId8"/>
    <p:sldMasterId id="2147483832" r:id="rId9"/>
  </p:sldMasterIdLst>
  <p:notesMasterIdLst>
    <p:notesMasterId r:id="rId50"/>
  </p:notesMasterIdLst>
  <p:sldIdLst>
    <p:sldId id="1624" r:id="rId10"/>
    <p:sldId id="1783" r:id="rId11"/>
    <p:sldId id="1360" r:id="rId12"/>
    <p:sldId id="2328" r:id="rId13"/>
    <p:sldId id="2329" r:id="rId14"/>
    <p:sldId id="2330" r:id="rId15"/>
    <p:sldId id="2333" r:id="rId16"/>
    <p:sldId id="1977" r:id="rId17"/>
    <p:sldId id="2334" r:id="rId18"/>
    <p:sldId id="2335" r:id="rId19"/>
    <p:sldId id="1940" r:id="rId20"/>
    <p:sldId id="2338" r:id="rId21"/>
    <p:sldId id="2339" r:id="rId22"/>
    <p:sldId id="2340" r:id="rId23"/>
    <p:sldId id="2336" r:id="rId24"/>
    <p:sldId id="2322" r:id="rId25"/>
    <p:sldId id="2323" r:id="rId26"/>
    <p:sldId id="2324" r:id="rId27"/>
    <p:sldId id="2325" r:id="rId28"/>
    <p:sldId id="2326" r:id="rId29"/>
    <p:sldId id="1985" r:id="rId30"/>
    <p:sldId id="2327" r:id="rId31"/>
    <p:sldId id="1986" r:id="rId32"/>
    <p:sldId id="2337" r:id="rId33"/>
    <p:sldId id="1836" r:id="rId34"/>
    <p:sldId id="1979" r:id="rId35"/>
    <p:sldId id="1980" r:id="rId36"/>
    <p:sldId id="1981" r:id="rId37"/>
    <p:sldId id="2319" r:id="rId38"/>
    <p:sldId id="2320" r:id="rId39"/>
    <p:sldId id="1955" r:id="rId40"/>
    <p:sldId id="1956" r:id="rId41"/>
    <p:sldId id="1957" r:id="rId42"/>
    <p:sldId id="1958" r:id="rId43"/>
    <p:sldId id="1959" r:id="rId44"/>
    <p:sldId id="1960" r:id="rId45"/>
    <p:sldId id="1968" r:id="rId46"/>
    <p:sldId id="1969" r:id="rId47"/>
    <p:sldId id="1970" r:id="rId48"/>
    <p:sldId id="1971" r:id="rId49"/>
  </p:sldIdLst>
  <p:sldSz cx="12192000" cy="6858000"/>
  <p:notesSz cx="6858000" cy="9144000"/>
  <p:custDataLst>
    <p:tags r:id="rId51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8" userDrawn="1">
          <p15:clr>
            <a:srgbClr val="A4A3A4"/>
          </p15:clr>
        </p15:guide>
        <p15:guide id="2" pos="5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CC"/>
    <a:srgbClr val="00FF00"/>
    <a:srgbClr val="D31145"/>
    <a:srgbClr val="FF33CC"/>
    <a:srgbClr val="00B050"/>
    <a:srgbClr val="800000"/>
    <a:srgbClr val="EAEFF7"/>
    <a:srgbClr val="FF9900"/>
    <a:srgbClr val="4472C4"/>
    <a:srgbClr val="7671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352" autoAdjust="0"/>
    <p:restoredTop sz="95501" autoAdjust="0"/>
  </p:normalViewPr>
  <p:slideViewPr>
    <p:cSldViewPr snapToGrid="0">
      <p:cViewPr varScale="1">
        <p:scale>
          <a:sx n="102" d="100"/>
          <a:sy n="102" d="100"/>
        </p:scale>
        <p:origin x="540" y="114"/>
      </p:cViewPr>
      <p:guideLst>
        <p:guide orient="horz" pos="958"/>
        <p:guide pos="57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slide" Target="slides/slide33.xml"/><Relationship Id="rId47" Type="http://schemas.openxmlformats.org/officeDocument/2006/relationships/slide" Target="slides/slide38.xml"/><Relationship Id="rId50" Type="http://schemas.openxmlformats.org/officeDocument/2006/relationships/notesMaster" Target="notesMasters/notesMaster1.xml"/><Relationship Id="rId55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slide" Target="slides/slide3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41" Type="http://schemas.openxmlformats.org/officeDocument/2006/relationships/slide" Target="slides/slide32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slide" Target="slides/slide36.xml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slide" Target="slides/slide40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slide" Target="slides/slide35.xml"/><Relationship Id="rId52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slide" Target="slides/slide39.xml"/><Relationship Id="rId8" Type="http://schemas.openxmlformats.org/officeDocument/2006/relationships/slideMaster" Target="slideMasters/slideMaster8.xml"/><Relationship Id="rId51" Type="http://schemas.openxmlformats.org/officeDocument/2006/relationships/tags" Target="tags/tag1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4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5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7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155:$B$322</c:f>
              <c:numCache>
                <c:formatCode>0</c:formatCode>
                <c:ptCount val="168"/>
                <c:pt idx="0">
                  <c:v>7227</c:v>
                </c:pt>
                <c:pt idx="1">
                  <c:v>9153</c:v>
                </c:pt>
                <c:pt idx="2">
                  <c:v>9667</c:v>
                </c:pt>
                <c:pt idx="3">
                  <c:v>8110</c:v>
                </c:pt>
                <c:pt idx="4">
                  <c:v>8628</c:v>
                </c:pt>
                <c:pt idx="5">
                  <c:v>4820</c:v>
                </c:pt>
                <c:pt idx="6">
                  <c:v>2451</c:v>
                </c:pt>
                <c:pt idx="7">
                  <c:v>7778</c:v>
                </c:pt>
                <c:pt idx="8">
                  <c:v>10284</c:v>
                </c:pt>
                <c:pt idx="9">
                  <c:v>9543</c:v>
                </c:pt>
                <c:pt idx="10">
                  <c:v>9020</c:v>
                </c:pt>
                <c:pt idx="11">
                  <c:v>8831</c:v>
                </c:pt>
                <c:pt idx="12">
                  <c:v>5143</c:v>
                </c:pt>
                <c:pt idx="13">
                  <c:v>2881</c:v>
                </c:pt>
                <c:pt idx="14">
                  <c:v>8907</c:v>
                </c:pt>
                <c:pt idx="15">
                  <c:v>12610</c:v>
                </c:pt>
                <c:pt idx="16">
                  <c:v>10943</c:v>
                </c:pt>
                <c:pt idx="17">
                  <c:v>11707</c:v>
                </c:pt>
                <c:pt idx="18">
                  <c:v>11287</c:v>
                </c:pt>
                <c:pt idx="19">
                  <c:v>6776</c:v>
                </c:pt>
                <c:pt idx="20">
                  <c:v>4071</c:v>
                </c:pt>
                <c:pt idx="21">
                  <c:v>11419</c:v>
                </c:pt>
                <c:pt idx="22">
                  <c:v>15848</c:v>
                </c:pt>
                <c:pt idx="23">
                  <c:v>13801</c:v>
                </c:pt>
                <c:pt idx="24">
                  <c:v>14591</c:v>
                </c:pt>
                <c:pt idx="25">
                  <c:v>14783</c:v>
                </c:pt>
                <c:pt idx="26">
                  <c:v>7862</c:v>
                </c:pt>
                <c:pt idx="27">
                  <c:v>4593</c:v>
                </c:pt>
                <c:pt idx="28">
                  <c:v>12324</c:v>
                </c:pt>
                <c:pt idx="29">
                  <c:v>16786</c:v>
                </c:pt>
                <c:pt idx="30">
                  <c:v>15241</c:v>
                </c:pt>
                <c:pt idx="31">
                  <c:v>14651</c:v>
                </c:pt>
                <c:pt idx="32">
                  <c:v>13170</c:v>
                </c:pt>
                <c:pt idx="33">
                  <c:v>9130</c:v>
                </c:pt>
                <c:pt idx="34">
                  <c:v>3984</c:v>
                </c:pt>
                <c:pt idx="35">
                  <c:v>10655</c:v>
                </c:pt>
                <c:pt idx="36">
                  <c:v>15361</c:v>
                </c:pt>
                <c:pt idx="37">
                  <c:v>14540</c:v>
                </c:pt>
                <c:pt idx="38">
                  <c:v>11247</c:v>
                </c:pt>
                <c:pt idx="39">
                  <c:v>14977</c:v>
                </c:pt>
                <c:pt idx="40">
                  <c:v>7031</c:v>
                </c:pt>
                <c:pt idx="41">
                  <c:v>3333</c:v>
                </c:pt>
                <c:pt idx="42">
                  <c:v>10631</c:v>
                </c:pt>
                <c:pt idx="43">
                  <c:v>14027</c:v>
                </c:pt>
                <c:pt idx="44">
                  <c:v>12029</c:v>
                </c:pt>
                <c:pt idx="45">
                  <c:v>10662</c:v>
                </c:pt>
                <c:pt idx="46">
                  <c:v>9715</c:v>
                </c:pt>
                <c:pt idx="47">
                  <c:v>5467</c:v>
                </c:pt>
                <c:pt idx="48">
                  <c:v>2391</c:v>
                </c:pt>
                <c:pt idx="49">
                  <c:v>8242</c:v>
                </c:pt>
                <c:pt idx="50">
                  <c:v>10970</c:v>
                </c:pt>
                <c:pt idx="51">
                  <c:v>8853</c:v>
                </c:pt>
                <c:pt idx="52">
                  <c:v>7930</c:v>
                </c:pt>
                <c:pt idx="53">
                  <c:v>7715</c:v>
                </c:pt>
                <c:pt idx="54">
                  <c:v>3970</c:v>
                </c:pt>
                <c:pt idx="55">
                  <c:v>1744</c:v>
                </c:pt>
                <c:pt idx="56">
                  <c:v>6937</c:v>
                </c:pt>
                <c:pt idx="57">
                  <c:v>8634</c:v>
                </c:pt>
                <c:pt idx="58">
                  <c:v>7267</c:v>
                </c:pt>
                <c:pt idx="59">
                  <c:v>6247</c:v>
                </c:pt>
                <c:pt idx="60">
                  <c:v>3836</c:v>
                </c:pt>
                <c:pt idx="61">
                  <c:v>2160</c:v>
                </c:pt>
                <c:pt idx="62">
                  <c:v>1926</c:v>
                </c:pt>
                <c:pt idx="63">
                  <c:v>1419</c:v>
                </c:pt>
                <c:pt idx="64">
                  <c:v>5587</c:v>
                </c:pt>
                <c:pt idx="65">
                  <c:v>7054</c:v>
                </c:pt>
                <c:pt idx="66">
                  <c:v>5283</c:v>
                </c:pt>
                <c:pt idx="67">
                  <c:v>4821</c:v>
                </c:pt>
                <c:pt idx="68">
                  <c:v>2207</c:v>
                </c:pt>
                <c:pt idx="69">
                  <c:v>985</c:v>
                </c:pt>
                <c:pt idx="70">
                  <c:v>3867</c:v>
                </c:pt>
                <c:pt idx="71">
                  <c:v>5055</c:v>
                </c:pt>
                <c:pt idx="72">
                  <c:v>3716</c:v>
                </c:pt>
                <c:pt idx="73">
                  <c:v>3264</c:v>
                </c:pt>
                <c:pt idx="74">
                  <c:v>3218</c:v>
                </c:pt>
                <c:pt idx="75">
                  <c:v>1541</c:v>
                </c:pt>
                <c:pt idx="76">
                  <c:v>833</c:v>
                </c:pt>
                <c:pt idx="77">
                  <c:v>3342</c:v>
                </c:pt>
                <c:pt idx="78">
                  <c:v>3817</c:v>
                </c:pt>
                <c:pt idx="79">
                  <c:v>2951</c:v>
                </c:pt>
                <c:pt idx="80">
                  <c:v>2629</c:v>
                </c:pt>
                <c:pt idx="81">
                  <c:v>2601</c:v>
                </c:pt>
                <c:pt idx="82">
                  <c:v>1308</c:v>
                </c:pt>
                <c:pt idx="83">
                  <c:v>825</c:v>
                </c:pt>
                <c:pt idx="84">
                  <c:v>2580</c:v>
                </c:pt>
                <c:pt idx="85">
                  <c:v>3239</c:v>
                </c:pt>
                <c:pt idx="86">
                  <c:v>2488</c:v>
                </c:pt>
                <c:pt idx="87">
                  <c:v>2229</c:v>
                </c:pt>
                <c:pt idx="88">
                  <c:v>2167</c:v>
                </c:pt>
                <c:pt idx="89">
                  <c:v>1171</c:v>
                </c:pt>
                <c:pt idx="90">
                  <c:v>508</c:v>
                </c:pt>
                <c:pt idx="91">
                  <c:v>2219</c:v>
                </c:pt>
                <c:pt idx="92">
                  <c:v>2415</c:v>
                </c:pt>
                <c:pt idx="93">
                  <c:v>1873</c:v>
                </c:pt>
                <c:pt idx="94">
                  <c:v>1572</c:v>
                </c:pt>
                <c:pt idx="95">
                  <c:v>1638</c:v>
                </c:pt>
                <c:pt idx="96">
                  <c:v>725</c:v>
                </c:pt>
                <c:pt idx="97">
                  <c:v>384</c:v>
                </c:pt>
                <c:pt idx="98">
                  <c:v>1545</c:v>
                </c:pt>
                <c:pt idx="99">
                  <c:v>1690</c:v>
                </c:pt>
                <c:pt idx="100">
                  <c:v>1264</c:v>
                </c:pt>
                <c:pt idx="101">
                  <c:v>1223</c:v>
                </c:pt>
                <c:pt idx="102">
                  <c:v>1051</c:v>
                </c:pt>
                <c:pt idx="103">
                  <c:v>597</c:v>
                </c:pt>
                <c:pt idx="104">
                  <c:v>257</c:v>
                </c:pt>
                <c:pt idx="105">
                  <c:v>1130</c:v>
                </c:pt>
                <c:pt idx="106">
                  <c:v>1199</c:v>
                </c:pt>
                <c:pt idx="107">
                  <c:v>778</c:v>
                </c:pt>
                <c:pt idx="108">
                  <c:v>677</c:v>
                </c:pt>
                <c:pt idx="109">
                  <c:v>671</c:v>
                </c:pt>
                <c:pt idx="110">
                  <c:v>334</c:v>
                </c:pt>
                <c:pt idx="111">
                  <c:v>197</c:v>
                </c:pt>
                <c:pt idx="112">
                  <c:v>697</c:v>
                </c:pt>
                <c:pt idx="113">
                  <c:v>661</c:v>
                </c:pt>
                <c:pt idx="114">
                  <c:v>538</c:v>
                </c:pt>
                <c:pt idx="115">
                  <c:v>506</c:v>
                </c:pt>
                <c:pt idx="116">
                  <c:v>453</c:v>
                </c:pt>
                <c:pt idx="117">
                  <c:v>222</c:v>
                </c:pt>
                <c:pt idx="118">
                  <c:v>112</c:v>
                </c:pt>
                <c:pt idx="119">
                  <c:v>512</c:v>
                </c:pt>
                <c:pt idx="120">
                  <c:v>479</c:v>
                </c:pt>
                <c:pt idx="121">
                  <c:v>351</c:v>
                </c:pt>
                <c:pt idx="122">
                  <c:v>423</c:v>
                </c:pt>
                <c:pt idx="123">
                  <c:v>319</c:v>
                </c:pt>
                <c:pt idx="124">
                  <c:v>152</c:v>
                </c:pt>
                <c:pt idx="125">
                  <c:v>97</c:v>
                </c:pt>
                <c:pt idx="126">
                  <c:v>294</c:v>
                </c:pt>
                <c:pt idx="127">
                  <c:v>386</c:v>
                </c:pt>
                <c:pt idx="128">
                  <c:v>250</c:v>
                </c:pt>
                <c:pt idx="129">
                  <c:v>190</c:v>
                </c:pt>
                <c:pt idx="130">
                  <c:v>179</c:v>
                </c:pt>
                <c:pt idx="131">
                  <c:v>73</c:v>
                </c:pt>
                <c:pt idx="132">
                  <c:v>41</c:v>
                </c:pt>
                <c:pt idx="133">
                  <c:v>175</c:v>
                </c:pt>
                <c:pt idx="134">
                  <c:v>206</c:v>
                </c:pt>
                <c:pt idx="135">
                  <c:v>128</c:v>
                </c:pt>
                <c:pt idx="136">
                  <c:v>157</c:v>
                </c:pt>
                <c:pt idx="137">
                  <c:v>142</c:v>
                </c:pt>
                <c:pt idx="138">
                  <c:v>63</c:v>
                </c:pt>
                <c:pt idx="139">
                  <c:v>57</c:v>
                </c:pt>
                <c:pt idx="140">
                  <c:v>118</c:v>
                </c:pt>
                <c:pt idx="141">
                  <c:v>112</c:v>
                </c:pt>
                <c:pt idx="142">
                  <c:v>105</c:v>
                </c:pt>
                <c:pt idx="143">
                  <c:v>96</c:v>
                </c:pt>
                <c:pt idx="144">
                  <c:v>132</c:v>
                </c:pt>
                <c:pt idx="145">
                  <c:v>67</c:v>
                </c:pt>
                <c:pt idx="146">
                  <c:v>56</c:v>
                </c:pt>
                <c:pt idx="147">
                  <c:v>148</c:v>
                </c:pt>
                <c:pt idx="148">
                  <c:v>156</c:v>
                </c:pt>
                <c:pt idx="149">
                  <c:v>136</c:v>
                </c:pt>
                <c:pt idx="150">
                  <c:v>166</c:v>
                </c:pt>
                <c:pt idx="151">
                  <c:v>163</c:v>
                </c:pt>
                <c:pt idx="152">
                  <c:v>124</c:v>
                </c:pt>
                <c:pt idx="153">
                  <c:v>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155:$C$322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155:$D$322</c:f>
              <c:numCache>
                <c:formatCode>General</c:formatCode>
                <c:ptCount val="168"/>
                <c:pt idx="120" formatCode="#,##0">
                  <c:v>335</c:v>
                </c:pt>
                <c:pt idx="121" formatCode="#,##0">
                  <c:v>317</c:v>
                </c:pt>
                <c:pt idx="122" formatCode="#,##0">
                  <c:v>298</c:v>
                </c:pt>
                <c:pt idx="123" formatCode="#,##0">
                  <c:v>280</c:v>
                </c:pt>
                <c:pt idx="124" formatCode="#,##0">
                  <c:v>265</c:v>
                </c:pt>
                <c:pt idx="125" formatCode="#,##0">
                  <c:v>250</c:v>
                </c:pt>
                <c:pt idx="126" formatCode="#,##0">
                  <c:v>236</c:v>
                </c:pt>
                <c:pt idx="127" formatCode="#,##0">
                  <c:v>224</c:v>
                </c:pt>
                <c:pt idx="128" formatCode="#,##0">
                  <c:v>212</c:v>
                </c:pt>
                <c:pt idx="129" formatCode="#,##0">
                  <c:v>200</c:v>
                </c:pt>
                <c:pt idx="130" formatCode="#,##0">
                  <c:v>189</c:v>
                </c:pt>
                <c:pt idx="131" formatCode="#,##0">
                  <c:v>180</c:v>
                </c:pt>
                <c:pt idx="132" formatCode="#,##0">
                  <c:v>170</c:v>
                </c:pt>
                <c:pt idx="133" formatCode="#,##0">
                  <c:v>162</c:v>
                </c:pt>
                <c:pt idx="134" formatCode="#,##0">
                  <c:v>153</c:v>
                </c:pt>
                <c:pt idx="135" formatCode="#,##0">
                  <c:v>146</c:v>
                </c:pt>
                <c:pt idx="136" formatCode="#,##0">
                  <c:v>138</c:v>
                </c:pt>
                <c:pt idx="137" formatCode="#,##0">
                  <c:v>131</c:v>
                </c:pt>
                <c:pt idx="138" formatCode="#,##0">
                  <c:v>126</c:v>
                </c:pt>
                <c:pt idx="139" formatCode="#,##0">
                  <c:v>120</c:v>
                </c:pt>
                <c:pt idx="140" formatCode="#,##0">
                  <c:v>114</c:v>
                </c:pt>
                <c:pt idx="141" formatCode="#,##0">
                  <c:v>109</c:v>
                </c:pt>
                <c:pt idx="142" formatCode="#,##0">
                  <c:v>104</c:v>
                </c:pt>
                <c:pt idx="143" formatCode="#,##0">
                  <c:v>99</c:v>
                </c:pt>
                <c:pt idx="144" formatCode="#,##0">
                  <c:v>95</c:v>
                </c:pt>
                <c:pt idx="145" formatCode="#,##0">
                  <c:v>91</c:v>
                </c:pt>
                <c:pt idx="146" formatCode="#,##0">
                  <c:v>87</c:v>
                </c:pt>
                <c:pt idx="147" formatCode="#,##0">
                  <c:v>83</c:v>
                </c:pt>
                <c:pt idx="148" formatCode="#,##0">
                  <c:v>81</c:v>
                </c:pt>
                <c:pt idx="149" formatCode="#,##0">
                  <c:v>77</c:v>
                </c:pt>
                <c:pt idx="150" formatCode="#,##0">
                  <c:v>74</c:v>
                </c:pt>
                <c:pt idx="151" formatCode="#,##0">
                  <c:v>71</c:v>
                </c:pt>
                <c:pt idx="152" formatCode="#,##0">
                  <c:v>69</c:v>
                </c:pt>
                <c:pt idx="153" formatCode="#,##0">
                  <c:v>66</c:v>
                </c:pt>
                <c:pt idx="154" formatCode="#,##0">
                  <c:v>64</c:v>
                </c:pt>
                <c:pt idx="155" formatCode="#,##0">
                  <c:v>62</c:v>
                </c:pt>
                <c:pt idx="156" formatCode="#,##0">
                  <c:v>61</c:v>
                </c:pt>
                <c:pt idx="157" formatCode="#,##0">
                  <c:v>58</c:v>
                </c:pt>
                <c:pt idx="158" formatCode="#,##0">
                  <c:v>57</c:v>
                </c:pt>
                <c:pt idx="159" formatCode="#,##0">
                  <c:v>55</c:v>
                </c:pt>
                <c:pt idx="160" formatCode="#,##0">
                  <c:v>53</c:v>
                </c:pt>
                <c:pt idx="161" formatCode="#,##0">
                  <c:v>52</c:v>
                </c:pt>
                <c:pt idx="162" formatCode="#,##0">
                  <c:v>50</c:v>
                </c:pt>
                <c:pt idx="163" formatCode="#,##0">
                  <c:v>50</c:v>
                </c:pt>
                <c:pt idx="164" formatCode="#,##0">
                  <c:v>48</c:v>
                </c:pt>
                <c:pt idx="165" formatCode="#,##0">
                  <c:v>47</c:v>
                </c:pt>
                <c:pt idx="166" formatCode="#,##0">
                  <c:v>45</c:v>
                </c:pt>
                <c:pt idx="167" formatCode="#,##0">
                  <c:v>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155:$F$322</c:f>
              <c:numCache>
                <c:formatCode>General</c:formatCode>
                <c:ptCount val="168"/>
                <c:pt idx="120" formatCode="#,##0">
                  <c:v>371</c:v>
                </c:pt>
                <c:pt idx="121" formatCode="#,##0">
                  <c:v>371</c:v>
                </c:pt>
                <c:pt idx="122" formatCode="#,##0">
                  <c:v>361</c:v>
                </c:pt>
                <c:pt idx="123" formatCode="#,##0">
                  <c:v>347</c:v>
                </c:pt>
                <c:pt idx="124" formatCode="#,##0">
                  <c:v>339</c:v>
                </c:pt>
                <c:pt idx="125" formatCode="#,##0">
                  <c:v>335</c:v>
                </c:pt>
                <c:pt idx="126" formatCode="#,##0">
                  <c:v>334</c:v>
                </c:pt>
                <c:pt idx="127" formatCode="#,##0">
                  <c:v>333</c:v>
                </c:pt>
                <c:pt idx="128" formatCode="#,##0">
                  <c:v>327</c:v>
                </c:pt>
                <c:pt idx="129" formatCode="#,##0">
                  <c:v>320</c:v>
                </c:pt>
                <c:pt idx="130" formatCode="#,##0">
                  <c:v>313</c:v>
                </c:pt>
                <c:pt idx="131" formatCode="#,##0">
                  <c:v>311</c:v>
                </c:pt>
                <c:pt idx="132" formatCode="#,##0">
                  <c:v>308</c:v>
                </c:pt>
                <c:pt idx="133" formatCode="#,##0">
                  <c:v>305</c:v>
                </c:pt>
                <c:pt idx="134" formatCode="#,##0">
                  <c:v>300</c:v>
                </c:pt>
                <c:pt idx="135" formatCode="#,##0">
                  <c:v>295</c:v>
                </c:pt>
                <c:pt idx="136" formatCode="#,##0">
                  <c:v>290</c:v>
                </c:pt>
                <c:pt idx="137" formatCode="#,##0">
                  <c:v>287</c:v>
                </c:pt>
                <c:pt idx="138" formatCode="#,##0">
                  <c:v>284</c:v>
                </c:pt>
                <c:pt idx="139" formatCode="#,##0">
                  <c:v>280</c:v>
                </c:pt>
                <c:pt idx="140" formatCode="#,##0">
                  <c:v>277</c:v>
                </c:pt>
                <c:pt idx="141" formatCode="#,##0">
                  <c:v>273</c:v>
                </c:pt>
                <c:pt idx="142" formatCode="#,##0">
                  <c:v>269</c:v>
                </c:pt>
                <c:pt idx="143" formatCode="#,##0">
                  <c:v>266</c:v>
                </c:pt>
                <c:pt idx="144" formatCode="#,##0">
                  <c:v>263</c:v>
                </c:pt>
                <c:pt idx="145" formatCode="#,##0">
                  <c:v>260</c:v>
                </c:pt>
                <c:pt idx="146" formatCode="#,##0">
                  <c:v>256</c:v>
                </c:pt>
                <c:pt idx="147" formatCode="#,##0">
                  <c:v>253</c:v>
                </c:pt>
                <c:pt idx="148" formatCode="#,##0">
                  <c:v>250</c:v>
                </c:pt>
                <c:pt idx="149" formatCode="#,##0">
                  <c:v>247</c:v>
                </c:pt>
                <c:pt idx="150" formatCode="#,##0">
                  <c:v>244</c:v>
                </c:pt>
                <c:pt idx="151" formatCode="#,##0">
                  <c:v>241</c:v>
                </c:pt>
                <c:pt idx="152" formatCode="#,##0">
                  <c:v>238</c:v>
                </c:pt>
                <c:pt idx="153" formatCode="#,##0">
                  <c:v>235</c:v>
                </c:pt>
                <c:pt idx="154" formatCode="#,##0">
                  <c:v>233</c:v>
                </c:pt>
                <c:pt idx="155" formatCode="#,##0">
                  <c:v>230</c:v>
                </c:pt>
                <c:pt idx="156" formatCode="#,##0">
                  <c:v>227</c:v>
                </c:pt>
                <c:pt idx="157" formatCode="#,##0">
                  <c:v>225</c:v>
                </c:pt>
                <c:pt idx="158" formatCode="#,##0">
                  <c:v>222</c:v>
                </c:pt>
                <c:pt idx="159" formatCode="#,##0">
                  <c:v>220</c:v>
                </c:pt>
                <c:pt idx="160" formatCode="#,##0">
                  <c:v>217</c:v>
                </c:pt>
                <c:pt idx="161" formatCode="#,##0">
                  <c:v>215</c:v>
                </c:pt>
                <c:pt idx="162" formatCode="#,##0">
                  <c:v>212</c:v>
                </c:pt>
                <c:pt idx="163" formatCode="#,##0">
                  <c:v>210</c:v>
                </c:pt>
                <c:pt idx="164" formatCode="#,##0">
                  <c:v>208</c:v>
                </c:pt>
                <c:pt idx="165" formatCode="#,##0">
                  <c:v>205</c:v>
                </c:pt>
                <c:pt idx="166" formatCode="#,##0">
                  <c:v>204</c:v>
                </c:pt>
                <c:pt idx="167" formatCode="#,##0">
                  <c:v>2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155:$G$322</c:f>
              <c:numCache>
                <c:formatCode>General</c:formatCode>
                <c:ptCount val="168"/>
                <c:pt idx="120" formatCode="#,##0">
                  <c:v>407</c:v>
                </c:pt>
                <c:pt idx="121" formatCode="#,##0">
                  <c:v>426</c:v>
                </c:pt>
                <c:pt idx="122" formatCode="#,##0">
                  <c:v>424</c:v>
                </c:pt>
                <c:pt idx="123" formatCode="#,##0">
                  <c:v>413</c:v>
                </c:pt>
                <c:pt idx="124" formatCode="#,##0">
                  <c:v>417</c:v>
                </c:pt>
                <c:pt idx="125" formatCode="#,##0">
                  <c:v>429</c:v>
                </c:pt>
                <c:pt idx="126" formatCode="#,##0">
                  <c:v>447</c:v>
                </c:pt>
                <c:pt idx="127" formatCode="#,##0">
                  <c:v>465</c:v>
                </c:pt>
                <c:pt idx="128" formatCode="#,##0">
                  <c:v>469</c:v>
                </c:pt>
                <c:pt idx="129" formatCode="#,##0">
                  <c:v>471</c:v>
                </c:pt>
                <c:pt idx="130" formatCode="#,##0">
                  <c:v>477</c:v>
                </c:pt>
                <c:pt idx="131" formatCode="#,##0">
                  <c:v>492</c:v>
                </c:pt>
                <c:pt idx="132" formatCode="#,##0">
                  <c:v>507</c:v>
                </c:pt>
                <c:pt idx="133" formatCode="#,##0">
                  <c:v>518</c:v>
                </c:pt>
                <c:pt idx="134" formatCode="#,##0">
                  <c:v>527</c:v>
                </c:pt>
                <c:pt idx="135" formatCode="#,##0">
                  <c:v>534</c:v>
                </c:pt>
                <c:pt idx="136" formatCode="#,##0">
                  <c:v>545</c:v>
                </c:pt>
                <c:pt idx="137" formatCode="#,##0">
                  <c:v>558</c:v>
                </c:pt>
                <c:pt idx="138" formatCode="#,##0">
                  <c:v>571</c:v>
                </c:pt>
                <c:pt idx="139" formatCode="#,##0">
                  <c:v>583</c:v>
                </c:pt>
                <c:pt idx="140" formatCode="#,##0">
                  <c:v>593</c:v>
                </c:pt>
                <c:pt idx="141" formatCode="#,##0">
                  <c:v>603</c:v>
                </c:pt>
                <c:pt idx="142" formatCode="#,##0">
                  <c:v>616</c:v>
                </c:pt>
                <c:pt idx="143" formatCode="#,##0">
                  <c:v>630</c:v>
                </c:pt>
                <c:pt idx="144" formatCode="#,##0">
                  <c:v>643</c:v>
                </c:pt>
                <c:pt idx="145" formatCode="#,##0">
                  <c:v>655</c:v>
                </c:pt>
                <c:pt idx="146" formatCode="#,##0">
                  <c:v>668</c:v>
                </c:pt>
                <c:pt idx="147" formatCode="#,##0">
                  <c:v>681</c:v>
                </c:pt>
                <c:pt idx="148" formatCode="#,##0">
                  <c:v>694</c:v>
                </c:pt>
                <c:pt idx="149" formatCode="#,##0">
                  <c:v>709</c:v>
                </c:pt>
                <c:pt idx="150" formatCode="#,##0">
                  <c:v>722</c:v>
                </c:pt>
                <c:pt idx="151" formatCode="#,##0">
                  <c:v>737</c:v>
                </c:pt>
                <c:pt idx="152" formatCode="#,##0">
                  <c:v>751</c:v>
                </c:pt>
                <c:pt idx="153" formatCode="#,##0">
                  <c:v>766</c:v>
                </c:pt>
                <c:pt idx="154" formatCode="#,##0">
                  <c:v>781</c:v>
                </c:pt>
                <c:pt idx="155" formatCode="#,##0">
                  <c:v>797</c:v>
                </c:pt>
                <c:pt idx="156" formatCode="#,##0">
                  <c:v>812</c:v>
                </c:pt>
                <c:pt idx="157" formatCode="#,##0">
                  <c:v>828</c:v>
                </c:pt>
                <c:pt idx="158" formatCode="#,##0">
                  <c:v>843</c:v>
                </c:pt>
                <c:pt idx="159" formatCode="#,##0">
                  <c:v>860</c:v>
                </c:pt>
                <c:pt idx="160" formatCode="#,##0">
                  <c:v>877</c:v>
                </c:pt>
                <c:pt idx="161" formatCode="#,##0">
                  <c:v>893</c:v>
                </c:pt>
                <c:pt idx="162" formatCode="#,##0">
                  <c:v>911</c:v>
                </c:pt>
                <c:pt idx="163" formatCode="#,##0">
                  <c:v>929</c:v>
                </c:pt>
                <c:pt idx="164" formatCode="#,##0">
                  <c:v>946</c:v>
                </c:pt>
                <c:pt idx="165" formatCode="#,##0">
                  <c:v>964</c:v>
                </c:pt>
                <c:pt idx="166" formatCode="#,##0">
                  <c:v>983</c:v>
                </c:pt>
                <c:pt idx="167" formatCode="#,##0">
                  <c:v>1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3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G$2:$G$66</c:f>
              <c:numCache>
                <c:formatCode>General</c:formatCode>
                <c:ptCount val="65"/>
                <c:pt idx="0">
                  <c:v>554</c:v>
                </c:pt>
                <c:pt idx="1">
                  <c:v>559</c:v>
                </c:pt>
                <c:pt idx="2">
                  <c:v>564</c:v>
                </c:pt>
                <c:pt idx="3">
                  <c:v>544</c:v>
                </c:pt>
                <c:pt idx="4">
                  <c:v>502</c:v>
                </c:pt>
                <c:pt idx="5">
                  <c:v>466</c:v>
                </c:pt>
                <c:pt idx="6">
                  <c:v>441</c:v>
                </c:pt>
                <c:pt idx="7">
                  <c:v>412</c:v>
                </c:pt>
                <c:pt idx="8">
                  <c:v>418</c:v>
                </c:pt>
                <c:pt idx="9">
                  <c:v>425</c:v>
                </c:pt>
                <c:pt idx="10">
                  <c:v>401</c:v>
                </c:pt>
                <c:pt idx="11">
                  <c:v>377</c:v>
                </c:pt>
                <c:pt idx="12">
                  <c:v>366</c:v>
                </c:pt>
                <c:pt idx="13">
                  <c:v>338</c:v>
                </c:pt>
                <c:pt idx="14">
                  <c:v>305</c:v>
                </c:pt>
                <c:pt idx="15">
                  <c:v>300</c:v>
                </c:pt>
                <c:pt idx="16">
                  <c:v>292</c:v>
                </c:pt>
                <c:pt idx="17">
                  <c:v>276</c:v>
                </c:pt>
                <c:pt idx="18">
                  <c:v>247</c:v>
                </c:pt>
                <c:pt idx="19">
                  <c:v>216</c:v>
                </c:pt>
                <c:pt idx="20">
                  <c:v>190</c:v>
                </c:pt>
                <c:pt idx="21">
                  <c:v>186</c:v>
                </c:pt>
                <c:pt idx="22">
                  <c:v>184</c:v>
                </c:pt>
                <c:pt idx="23">
                  <c:v>180</c:v>
                </c:pt>
                <c:pt idx="24">
                  <c:v>159</c:v>
                </c:pt>
                <c:pt idx="25">
                  <c:v>152</c:v>
                </c:pt>
                <c:pt idx="26">
                  <c:v>143</c:v>
                </c:pt>
                <c:pt idx="27">
                  <c:v>124</c:v>
                </c:pt>
                <c:pt idx="28">
                  <c:v>111</c:v>
                </c:pt>
                <c:pt idx="29">
                  <c:v>111</c:v>
                </c:pt>
                <c:pt idx="30">
                  <c:v>116</c:v>
                </c:pt>
                <c:pt idx="31">
                  <c:v>97</c:v>
                </c:pt>
                <c:pt idx="32">
                  <c:v>89</c:v>
                </c:pt>
                <c:pt idx="33">
                  <c:v>84</c:v>
                </c:pt>
                <c:pt idx="34">
                  <c:v>70</c:v>
                </c:pt>
                <c:pt idx="35">
                  <c:v>59</c:v>
                </c:pt>
                <c:pt idx="36">
                  <c:v>59</c:v>
                </c:pt>
                <c:pt idx="37">
                  <c:v>57</c:v>
                </c:pt>
                <c:pt idx="38">
                  <c:v>58</c:v>
                </c:pt>
                <c:pt idx="39">
                  <c:v>54</c:v>
                </c:pt>
                <c:pt idx="40">
                  <c:v>51</c:v>
                </c:pt>
                <c:pt idx="41">
                  <c:v>37</c:v>
                </c:pt>
                <c:pt idx="42">
                  <c:v>36</c:v>
                </c:pt>
                <c:pt idx="43">
                  <c:v>34</c:v>
                </c:pt>
                <c:pt idx="44">
                  <c:v>36</c:v>
                </c:pt>
                <c:pt idx="45">
                  <c:v>26</c:v>
                </c:pt>
                <c:pt idx="46">
                  <c:v>24</c:v>
                </c:pt>
                <c:pt idx="47">
                  <c:v>23</c:v>
                </c:pt>
                <c:pt idx="48">
                  <c:v>21</c:v>
                </c:pt>
                <c:pt idx="49">
                  <c:v>18</c:v>
                </c:pt>
                <c:pt idx="50">
                  <c:v>20</c:v>
                </c:pt>
                <c:pt idx="51">
                  <c:v>18</c:v>
                </c:pt>
                <c:pt idx="52">
                  <c:v>17</c:v>
                </c:pt>
                <c:pt idx="53">
                  <c:v>14</c:v>
                </c:pt>
                <c:pt idx="54">
                  <c:v>16</c:v>
                </c:pt>
                <c:pt idx="55">
                  <c:v>16</c:v>
                </c:pt>
                <c:pt idx="56">
                  <c:v>13</c:v>
                </c:pt>
                <c:pt idx="57">
                  <c:v>12</c:v>
                </c:pt>
                <c:pt idx="58">
                  <c:v>14</c:v>
                </c:pt>
                <c:pt idx="59">
                  <c:v>14</c:v>
                </c:pt>
                <c:pt idx="60">
                  <c:v>11</c:v>
                </c:pt>
                <c:pt idx="61">
                  <c:v>11</c:v>
                </c:pt>
                <c:pt idx="62">
                  <c:v>4</c:v>
                </c:pt>
                <c:pt idx="63">
                  <c:v>3</c:v>
                </c:pt>
                <c:pt idx="6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C$2:$C$66</c:f>
              <c:numCache>
                <c:formatCode>General</c:formatCode>
                <c:ptCount val="65"/>
                <c:pt idx="0">
                  <c:v>597.17237083969894</c:v>
                </c:pt>
                <c:pt idx="1">
                  <c:v>574.6618578429252</c:v>
                </c:pt>
                <c:pt idx="2">
                  <c:v>552.26398231219684</c:v>
                </c:pt>
                <c:pt idx="3">
                  <c:v>531.05329582285685</c:v>
                </c:pt>
                <c:pt idx="4">
                  <c:v>510.79310230645638</c:v>
                </c:pt>
                <c:pt idx="5">
                  <c:v>488.83822592786868</c:v>
                </c:pt>
                <c:pt idx="6">
                  <c:v>467.67344128951396</c:v>
                </c:pt>
                <c:pt idx="7">
                  <c:v>448.02313842597414</c:v>
                </c:pt>
                <c:pt idx="8">
                  <c:v>428.45065129823337</c:v>
                </c:pt>
                <c:pt idx="9">
                  <c:v>408.7599528177588</c:v>
                </c:pt>
                <c:pt idx="10">
                  <c:v>389.93528291151381</c:v>
                </c:pt>
                <c:pt idx="11">
                  <c:v>370.78460213218438</c:v>
                </c:pt>
                <c:pt idx="12">
                  <c:v>351.38407397894792</c:v>
                </c:pt>
                <c:pt idx="13">
                  <c:v>333.22628202150179</c:v>
                </c:pt>
                <c:pt idx="14">
                  <c:v>315.91559031776967</c:v>
                </c:pt>
                <c:pt idx="15">
                  <c:v>299.5975726484715</c:v>
                </c:pt>
                <c:pt idx="16">
                  <c:v>283.5084740833762</c:v>
                </c:pt>
                <c:pt idx="17">
                  <c:v>268.09904699533365</c:v>
                </c:pt>
                <c:pt idx="18">
                  <c:v>253.50919820612387</c:v>
                </c:pt>
                <c:pt idx="19">
                  <c:v>238.26506366803059</c:v>
                </c:pt>
                <c:pt idx="20">
                  <c:v>223.84720689669749</c:v>
                </c:pt>
                <c:pt idx="21">
                  <c:v>210.45474675055766</c:v>
                </c:pt>
                <c:pt idx="22">
                  <c:v>197.56229786075949</c:v>
                </c:pt>
                <c:pt idx="23">
                  <c:v>184.88330054629225</c:v>
                </c:pt>
                <c:pt idx="24">
                  <c:v>173.0336194003512</c:v>
                </c:pt>
                <c:pt idx="25">
                  <c:v>161.41383267135095</c:v>
                </c:pt>
                <c:pt idx="26">
                  <c:v>149.54709542682937</c:v>
                </c:pt>
                <c:pt idx="27">
                  <c:v>138.42642850124838</c:v>
                </c:pt>
                <c:pt idx="28">
                  <c:v>127.91109823770958</c:v>
                </c:pt>
                <c:pt idx="29">
                  <c:v>117.66721012126079</c:v>
                </c:pt>
                <c:pt idx="30">
                  <c:v>107.53744634859336</c:v>
                </c:pt>
                <c:pt idx="31">
                  <c:v>98.347413158346498</c:v>
                </c:pt>
                <c:pt idx="32">
                  <c:v>89.636833530521102</c:v>
                </c:pt>
                <c:pt idx="33">
                  <c:v>80.476026490278628</c:v>
                </c:pt>
                <c:pt idx="34">
                  <c:v>72.809885109695273</c:v>
                </c:pt>
                <c:pt idx="35">
                  <c:v>65.488579633950224</c:v>
                </c:pt>
                <c:pt idx="36">
                  <c:v>58.505846955618701</c:v>
                </c:pt>
                <c:pt idx="37">
                  <c:v>51.8551623513858</c:v>
                </c:pt>
                <c:pt idx="38">
                  <c:v>45.5295582845634</c:v>
                </c:pt>
                <c:pt idx="39">
                  <c:v>39.521171003230023</c:v>
                </c:pt>
                <c:pt idx="40">
                  <c:v>33.821342652534838</c:v>
                </c:pt>
                <c:pt idx="41">
                  <c:v>30.4206970929242</c:v>
                </c:pt>
                <c:pt idx="42">
                  <c:v>26.130109110113732</c:v>
                </c:pt>
                <c:pt idx="43">
                  <c:v>24.9553444086993</c:v>
                </c:pt>
                <c:pt idx="44">
                  <c:v>23.078213963426826</c:v>
                </c:pt>
                <c:pt idx="45">
                  <c:v>21.692072086779437</c:v>
                </c:pt>
                <c:pt idx="46">
                  <c:v>20.390521167433207</c:v>
                </c:pt>
                <c:pt idx="47">
                  <c:v>19.167445807307185</c:v>
                </c:pt>
                <c:pt idx="48">
                  <c:v>18.017073431231552</c:v>
                </c:pt>
                <c:pt idx="49">
                  <c:v>16.934026890438684</c:v>
                </c:pt>
                <c:pt idx="50">
                  <c:v>15.913366862576664</c:v>
                </c:pt>
                <c:pt idx="51">
                  <c:v>14.950616031626522</c:v>
                </c:pt>
                <c:pt idx="52">
                  <c:v>14.041752401203619</c:v>
                </c:pt>
                <c:pt idx="53">
                  <c:v>13.183178045862608</c:v>
                </c:pt>
                <c:pt idx="54">
                  <c:v>12.371678381775382</c:v>
                </c:pt>
                <c:pt idx="55">
                  <c:v>11.604377977776105</c:v>
                </c:pt>
                <c:pt idx="56">
                  <c:v>10.87869579206248</c:v>
                </c:pt>
                <c:pt idx="57">
                  <c:v>10.192305033759391</c:v>
                </c:pt>
                <c:pt idx="58">
                  <c:v>9.5430964431281335</c:v>
                </c:pt>
                <c:pt idx="59">
                  <c:v>8.9291467110275065</c:v>
                </c:pt>
                <c:pt idx="60">
                  <c:v>8.3486904849276993</c:v>
                </c:pt>
                <c:pt idx="61">
                  <c:v>7.8000974856407446</c:v>
                </c:pt>
                <c:pt idx="62">
                  <c:v>7.281852447570123</c:v>
                </c:pt>
                <c:pt idx="63">
                  <c:v>6.7925375725303105</c:v>
                </c:pt>
                <c:pt idx="64">
                  <c:v>6.33081837318028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AE2-42EA-A44F-23A358B5B2EF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D$2:$D$66</c:f>
              <c:numCache>
                <c:formatCode>General</c:formatCode>
                <c:ptCount val="65"/>
                <c:pt idx="0">
                  <c:v>597.17237083969894</c:v>
                </c:pt>
                <c:pt idx="1">
                  <c:v>574.6618578429252</c:v>
                </c:pt>
                <c:pt idx="2">
                  <c:v>552.26398231219684</c:v>
                </c:pt>
                <c:pt idx="3">
                  <c:v>531.05329582285685</c:v>
                </c:pt>
                <c:pt idx="4">
                  <c:v>510.79310230645638</c:v>
                </c:pt>
                <c:pt idx="5">
                  <c:v>488.83822592786868</c:v>
                </c:pt>
                <c:pt idx="6">
                  <c:v>467.67344128951396</c:v>
                </c:pt>
                <c:pt idx="7">
                  <c:v>448.02313842597414</c:v>
                </c:pt>
                <c:pt idx="8">
                  <c:v>428.45065129823337</c:v>
                </c:pt>
                <c:pt idx="9">
                  <c:v>408.7599528177588</c:v>
                </c:pt>
                <c:pt idx="10">
                  <c:v>389.93528291151381</c:v>
                </c:pt>
                <c:pt idx="11">
                  <c:v>370.78460213218438</c:v>
                </c:pt>
                <c:pt idx="12">
                  <c:v>351.38407397894792</c:v>
                </c:pt>
                <c:pt idx="13">
                  <c:v>333.22628202150179</c:v>
                </c:pt>
                <c:pt idx="14">
                  <c:v>315.91559031776967</c:v>
                </c:pt>
                <c:pt idx="15">
                  <c:v>299.5975726484715</c:v>
                </c:pt>
                <c:pt idx="16">
                  <c:v>283.5084740833762</c:v>
                </c:pt>
                <c:pt idx="17">
                  <c:v>268.21986744507655</c:v>
                </c:pt>
                <c:pt idx="18">
                  <c:v>253.94840558027843</c:v>
                </c:pt>
                <c:pt idx="19">
                  <c:v>239.25537324550692</c:v>
                </c:pt>
                <c:pt idx="20">
                  <c:v>225.64152227918424</c:v>
                </c:pt>
                <c:pt idx="21">
                  <c:v>213.32098883430933</c:v>
                </c:pt>
                <c:pt idx="22">
                  <c:v>201.77299238298284</c:v>
                </c:pt>
                <c:pt idx="23">
                  <c:v>190.70538069135276</c:v>
                </c:pt>
                <c:pt idx="24">
                  <c:v>180.84069704418098</c:v>
                </c:pt>
                <c:pt idx="25">
                  <c:v>171.6089209801105</c:v>
                </c:pt>
                <c:pt idx="26">
                  <c:v>162.49650765239755</c:v>
                </c:pt>
                <c:pt idx="27">
                  <c:v>154.54750551814232</c:v>
                </c:pt>
                <c:pt idx="28">
                  <c:v>147.60367619783608</c:v>
                </c:pt>
                <c:pt idx="29">
                  <c:v>141.25747263720049</c:v>
                </c:pt>
                <c:pt idx="30">
                  <c:v>135.2564031548402</c:v>
                </c:pt>
                <c:pt idx="31">
                  <c:v>130.60077118880116</c:v>
                </c:pt>
                <c:pt idx="32">
                  <c:v>126.72650425643683</c:v>
                </c:pt>
                <c:pt idx="33">
                  <c:v>122.21733908708741</c:v>
                </c:pt>
                <c:pt idx="34">
                  <c:v>119.92456500675694</c:v>
                </c:pt>
                <c:pt idx="35">
                  <c:v>118.19592824012004</c:v>
                </c:pt>
                <c:pt idx="36">
                  <c:v>116.9960196352545</c:v>
                </c:pt>
                <c:pt idx="37">
                  <c:v>116.29228237485675</c:v>
                </c:pt>
                <c:pt idx="38">
                  <c:v>116.0541858537994</c:v>
                </c:pt>
                <c:pt idx="39">
                  <c:v>116.25023259784413</c:v>
                </c:pt>
                <c:pt idx="40">
                  <c:v>116.84920151241182</c:v>
                </c:pt>
                <c:pt idx="41">
                  <c:v>117.82049994748219</c:v>
                </c:pt>
                <c:pt idx="42">
                  <c:v>119.13453376215789</c:v>
                </c:pt>
                <c:pt idx="43">
                  <c:v>120.76196271049584</c:v>
                </c:pt>
                <c:pt idx="44">
                  <c:v>122.67340378459639</c:v>
                </c:pt>
                <c:pt idx="45">
                  <c:v>124.8387210413884</c:v>
                </c:pt>
                <c:pt idx="46">
                  <c:v>127.22712986863239</c:v>
                </c:pt>
                <c:pt idx="47">
                  <c:v>129.80762764123165</c:v>
                </c:pt>
                <c:pt idx="48">
                  <c:v>132.54903297016997</c:v>
                </c:pt>
                <c:pt idx="49">
                  <c:v>135.42026908913931</c:v>
                </c:pt>
                <c:pt idx="50">
                  <c:v>138.39042559628521</c:v>
                </c:pt>
                <c:pt idx="51">
                  <c:v>141.4289623320347</c:v>
                </c:pt>
                <c:pt idx="52">
                  <c:v>144.50565383090924</c:v>
                </c:pt>
                <c:pt idx="53">
                  <c:v>147.59074921849196</c:v>
                </c:pt>
                <c:pt idx="54">
                  <c:v>150.65518504167679</c:v>
                </c:pt>
                <c:pt idx="55">
                  <c:v>153.67075041780393</c:v>
                </c:pt>
                <c:pt idx="56">
                  <c:v>156.61032742293</c:v>
                </c:pt>
                <c:pt idx="57">
                  <c:v>159.4480167143644</c:v>
                </c:pt>
                <c:pt idx="58">
                  <c:v>162.15919502315683</c:v>
                </c:pt>
                <c:pt idx="59">
                  <c:v>164.72059008367333</c:v>
                </c:pt>
                <c:pt idx="60">
                  <c:v>167.1103626054869</c:v>
                </c:pt>
                <c:pt idx="61">
                  <c:v>169.30823594525944</c:v>
                </c:pt>
                <c:pt idx="62">
                  <c:v>171.29557017503811</c:v>
                </c:pt>
                <c:pt idx="63">
                  <c:v>173.05544437965457</c:v>
                </c:pt>
                <c:pt idx="64">
                  <c:v>174.572671355578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AE2-42EA-A44F-23A358B5B2EF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F$2:$F$66</c:f>
              <c:numCache>
                <c:formatCode>General</c:formatCode>
                <c:ptCount val="6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2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G$2:$G$66</c:f>
              <c:numCache>
                <c:formatCode>General</c:formatCode>
                <c:ptCount val="65"/>
                <c:pt idx="0">
                  <c:v>158</c:v>
                </c:pt>
                <c:pt idx="1">
                  <c:v>147</c:v>
                </c:pt>
                <c:pt idx="2">
                  <c:v>255</c:v>
                </c:pt>
                <c:pt idx="3">
                  <c:v>171</c:v>
                </c:pt>
                <c:pt idx="4">
                  <c:v>182</c:v>
                </c:pt>
                <c:pt idx="5">
                  <c:v>170</c:v>
                </c:pt>
                <c:pt idx="6">
                  <c:v>176</c:v>
                </c:pt>
                <c:pt idx="7">
                  <c:v>92</c:v>
                </c:pt>
                <c:pt idx="8">
                  <c:v>101</c:v>
                </c:pt>
                <c:pt idx="9">
                  <c:v>175</c:v>
                </c:pt>
                <c:pt idx="10">
                  <c:v>138</c:v>
                </c:pt>
                <c:pt idx="11">
                  <c:v>139</c:v>
                </c:pt>
                <c:pt idx="12">
                  <c:v>121</c:v>
                </c:pt>
                <c:pt idx="13">
                  <c:v>104</c:v>
                </c:pt>
                <c:pt idx="14">
                  <c:v>65</c:v>
                </c:pt>
                <c:pt idx="15">
                  <c:v>65</c:v>
                </c:pt>
                <c:pt idx="16">
                  <c:v>103</c:v>
                </c:pt>
                <c:pt idx="17">
                  <c:v>80</c:v>
                </c:pt>
                <c:pt idx="18">
                  <c:v>69</c:v>
                </c:pt>
                <c:pt idx="19">
                  <c:v>68</c:v>
                </c:pt>
                <c:pt idx="20">
                  <c:v>77</c:v>
                </c:pt>
                <c:pt idx="21">
                  <c:v>35</c:v>
                </c:pt>
                <c:pt idx="22">
                  <c:v>29</c:v>
                </c:pt>
                <c:pt idx="23">
                  <c:v>57</c:v>
                </c:pt>
                <c:pt idx="24">
                  <c:v>59</c:v>
                </c:pt>
                <c:pt idx="25">
                  <c:v>61</c:v>
                </c:pt>
                <c:pt idx="26">
                  <c:v>38</c:v>
                </c:pt>
                <c:pt idx="27">
                  <c:v>40</c:v>
                </c:pt>
                <c:pt idx="28">
                  <c:v>19</c:v>
                </c:pt>
                <c:pt idx="29">
                  <c:v>27</c:v>
                </c:pt>
                <c:pt idx="30">
                  <c:v>41</c:v>
                </c:pt>
                <c:pt idx="31">
                  <c:v>28</c:v>
                </c:pt>
                <c:pt idx="32">
                  <c:v>38</c:v>
                </c:pt>
                <c:pt idx="33">
                  <c:v>20</c:v>
                </c:pt>
                <c:pt idx="34">
                  <c:v>28</c:v>
                </c:pt>
                <c:pt idx="35">
                  <c:v>16</c:v>
                </c:pt>
                <c:pt idx="36">
                  <c:v>12</c:v>
                </c:pt>
                <c:pt idx="37">
                  <c:v>14</c:v>
                </c:pt>
                <c:pt idx="38">
                  <c:v>23</c:v>
                </c:pt>
                <c:pt idx="39">
                  <c:v>15</c:v>
                </c:pt>
                <c:pt idx="40">
                  <c:v>18</c:v>
                </c:pt>
                <c:pt idx="41">
                  <c:v>10</c:v>
                </c:pt>
                <c:pt idx="42">
                  <c:v>8</c:v>
                </c:pt>
                <c:pt idx="43">
                  <c:v>5</c:v>
                </c:pt>
                <c:pt idx="44">
                  <c:v>9</c:v>
                </c:pt>
                <c:pt idx="45">
                  <c:v>9</c:v>
                </c:pt>
                <c:pt idx="46">
                  <c:v>6</c:v>
                </c:pt>
                <c:pt idx="47">
                  <c:v>24</c:v>
                </c:pt>
                <c:pt idx="48">
                  <c:v>8</c:v>
                </c:pt>
                <c:pt idx="49">
                  <c:v>10</c:v>
                </c:pt>
                <c:pt idx="50">
                  <c:v>2</c:v>
                </c:pt>
                <c:pt idx="51">
                  <c:v>8</c:v>
                </c:pt>
                <c:pt idx="52">
                  <c:v>7</c:v>
                </c:pt>
                <c:pt idx="53">
                  <c:v>7</c:v>
                </c:pt>
                <c:pt idx="54">
                  <c:v>4</c:v>
                </c:pt>
                <c:pt idx="55">
                  <c:v>6</c:v>
                </c:pt>
                <c:pt idx="56">
                  <c:v>1</c:v>
                </c:pt>
                <c:pt idx="57">
                  <c:v>2</c:v>
                </c:pt>
                <c:pt idx="58">
                  <c:v>7</c:v>
                </c:pt>
                <c:pt idx="59">
                  <c:v>2</c:v>
                </c:pt>
                <c:pt idx="60">
                  <c:v>10</c:v>
                </c:pt>
                <c:pt idx="61">
                  <c:v>4</c:v>
                </c:pt>
                <c:pt idx="62">
                  <c:v>2</c:v>
                </c:pt>
                <c:pt idx="63">
                  <c:v>4</c:v>
                </c:pt>
                <c:pt idx="6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C$2:$C$66</c:f>
              <c:numCache>
                <c:formatCode>General</c:formatCode>
                <c:ptCount val="65"/>
                <c:pt idx="0">
                  <c:v>204.88845825876342</c:v>
                </c:pt>
                <c:pt idx="1">
                  <c:v>196.34290975975455</c:v>
                </c:pt>
                <c:pt idx="2">
                  <c:v>188.0666587598389</c:v>
                </c:pt>
                <c:pt idx="3">
                  <c:v>180.02481272409204</c:v>
                </c:pt>
                <c:pt idx="4">
                  <c:v>172.19769917841768</c:v>
                </c:pt>
                <c:pt idx="5">
                  <c:v>164.56666051354841</c:v>
                </c:pt>
                <c:pt idx="6">
                  <c:v>157.12740276678232</c:v>
                </c:pt>
                <c:pt idx="7">
                  <c:v>149.89663935554563</c:v>
                </c:pt>
                <c:pt idx="8">
                  <c:v>142.92824784154072</c:v>
                </c:pt>
                <c:pt idx="9">
                  <c:v>136.25293674130808</c:v>
                </c:pt>
                <c:pt idx="10">
                  <c:v>129.85145851355628</c:v>
                </c:pt>
                <c:pt idx="11">
                  <c:v>123.7051756332512</c:v>
                </c:pt>
                <c:pt idx="12">
                  <c:v>117.79850991253625</c:v>
                </c:pt>
                <c:pt idx="13">
                  <c:v>112.11879586728173</c:v>
                </c:pt>
                <c:pt idx="14">
                  <c:v>106.663963914325</c:v>
                </c:pt>
                <c:pt idx="15">
                  <c:v>101.45146924094297</c:v>
                </c:pt>
                <c:pt idx="16">
                  <c:v>96.490828796318965</c:v>
                </c:pt>
                <c:pt idx="17">
                  <c:v>91.764299370493973</c:v>
                </c:pt>
                <c:pt idx="18">
                  <c:v>87.244280341721606</c:v>
                </c:pt>
                <c:pt idx="19">
                  <c:v>82.910026989207836</c:v>
                </c:pt>
                <c:pt idx="20">
                  <c:v>78.746805773174856</c:v>
                </c:pt>
                <c:pt idx="21">
                  <c:v>74.744046775682364</c:v>
                </c:pt>
                <c:pt idx="22">
                  <c:v>70.893572568689706</c:v>
                </c:pt>
                <c:pt idx="23">
                  <c:v>67.188202619348885</c:v>
                </c:pt>
                <c:pt idx="24">
                  <c:v>63.621352210146142</c:v>
                </c:pt>
                <c:pt idx="25">
                  <c:v>60.18717988798744</c:v>
                </c:pt>
                <c:pt idx="26">
                  <c:v>56.884065439371625</c:v>
                </c:pt>
                <c:pt idx="27">
                  <c:v>53.709972973098047</c:v>
                </c:pt>
                <c:pt idx="28">
                  <c:v>50.662486589106265</c:v>
                </c:pt>
                <c:pt idx="29">
                  <c:v>47.739171142602572</c:v>
                </c:pt>
                <c:pt idx="30">
                  <c:v>44.939013241004432</c:v>
                </c:pt>
                <c:pt idx="31">
                  <c:v>42.271329460840207</c:v>
                </c:pt>
                <c:pt idx="32">
                  <c:v>39.74072020870517</c:v>
                </c:pt>
                <c:pt idx="33">
                  <c:v>37.347123361978447</c:v>
                </c:pt>
                <c:pt idx="34">
                  <c:v>35.087708429578925</c:v>
                </c:pt>
                <c:pt idx="35">
                  <c:v>32.959169816516805</c:v>
                </c:pt>
                <c:pt idx="36">
                  <c:v>30.957024218543665</c:v>
                </c:pt>
                <c:pt idx="37">
                  <c:v>29.077149988414021</c:v>
                </c:pt>
                <c:pt idx="38">
                  <c:v>27.314582168037305</c:v>
                </c:pt>
                <c:pt idx="39">
                  <c:v>25.662116727093235</c:v>
                </c:pt>
                <c:pt idx="40">
                  <c:v>24.112844018352916</c:v>
                </c:pt>
                <c:pt idx="41">
                  <c:v>22.660188348585507</c:v>
                </c:pt>
                <c:pt idx="42">
                  <c:v>21.297797585255466</c:v>
                </c:pt>
                <c:pt idx="43">
                  <c:v>20.019496838736814</c:v>
                </c:pt>
                <c:pt idx="44">
                  <c:v>18.819321336079156</c:v>
                </c:pt>
                <c:pt idx="45">
                  <c:v>17.691552469477756</c:v>
                </c:pt>
                <c:pt idx="46">
                  <c:v>16.630763756751548</c:v>
                </c:pt>
                <c:pt idx="47">
                  <c:v>15.63191041603568</c:v>
                </c:pt>
                <c:pt idx="48">
                  <c:v>14.690405682194978</c:v>
                </c:pt>
                <c:pt idx="49">
                  <c:v>13.802116592036327</c:v>
                </c:pt>
                <c:pt idx="50">
                  <c:v>12.963352765247691</c:v>
                </c:pt>
                <c:pt idx="51">
                  <c:v>12.170827960420866</c:v>
                </c:pt>
                <c:pt idx="52">
                  <c:v>11.421606660383986</c:v>
                </c:pt>
                <c:pt idx="53">
                  <c:v>10.713066605356289</c:v>
                </c:pt>
                <c:pt idx="54">
                  <c:v>10.042850659228861</c:v>
                </c:pt>
                <c:pt idx="55">
                  <c:v>9.4088395637809299</c:v>
                </c:pt>
                <c:pt idx="56">
                  <c:v>8.8091108340595383</c:v>
                </c:pt>
                <c:pt idx="57">
                  <c:v>8.2419067683513276</c:v>
                </c:pt>
                <c:pt idx="58">
                  <c:v>7.705612818186637</c:v>
                </c:pt>
                <c:pt idx="59">
                  <c:v>7.1987332621647511</c:v>
                </c:pt>
                <c:pt idx="60">
                  <c:v>6.7198805748485029</c:v>
                </c:pt>
                <c:pt idx="61">
                  <c:v>6.2677579974988475</c:v>
                </c:pt>
                <c:pt idx="62">
                  <c:v>5.8411406279774383</c:v>
                </c:pt>
                <c:pt idx="63">
                  <c:v>5.4388654348440468</c:v>
                </c:pt>
                <c:pt idx="64">
                  <c:v>5.05982263354235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D60-4826-BB40-44692634279D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D$2:$D$66</c:f>
              <c:numCache>
                <c:formatCode>General</c:formatCode>
                <c:ptCount val="65"/>
                <c:pt idx="0">
                  <c:v>204.88845825876342</c:v>
                </c:pt>
                <c:pt idx="1">
                  <c:v>196.34290975975455</c:v>
                </c:pt>
                <c:pt idx="2">
                  <c:v>188.0666587598389</c:v>
                </c:pt>
                <c:pt idx="3">
                  <c:v>180.02481272409204</c:v>
                </c:pt>
                <c:pt idx="4">
                  <c:v>172.19769917841768</c:v>
                </c:pt>
                <c:pt idx="5">
                  <c:v>164.56666051354841</c:v>
                </c:pt>
                <c:pt idx="6">
                  <c:v>157.12740276678232</c:v>
                </c:pt>
                <c:pt idx="7">
                  <c:v>149.89663935554563</c:v>
                </c:pt>
                <c:pt idx="8">
                  <c:v>142.92824784154072</c:v>
                </c:pt>
                <c:pt idx="9">
                  <c:v>136.25293674130808</c:v>
                </c:pt>
                <c:pt idx="10">
                  <c:v>129.85145851355628</c:v>
                </c:pt>
                <c:pt idx="11">
                  <c:v>123.7051756332512</c:v>
                </c:pt>
                <c:pt idx="12">
                  <c:v>117.79850991253625</c:v>
                </c:pt>
                <c:pt idx="13">
                  <c:v>112.11879586728173</c:v>
                </c:pt>
                <c:pt idx="14">
                  <c:v>106.663963914325</c:v>
                </c:pt>
                <c:pt idx="15">
                  <c:v>101.45146924094297</c:v>
                </c:pt>
                <c:pt idx="16">
                  <c:v>96.490828796318965</c:v>
                </c:pt>
                <c:pt idx="17">
                  <c:v>92.306037068192381</c:v>
                </c:pt>
                <c:pt idx="18">
                  <c:v>88.683650358230807</c:v>
                </c:pt>
                <c:pt idx="19">
                  <c:v>85.458515409758547</c:v>
                </c:pt>
                <c:pt idx="20">
                  <c:v>82.550836899783462</c:v>
                </c:pt>
                <c:pt idx="21">
                  <c:v>79.92236190722906</c:v>
                </c:pt>
                <c:pt idx="22">
                  <c:v>77.556106533942511</c:v>
                </c:pt>
                <c:pt idx="23">
                  <c:v>75.435848832654301</c:v>
                </c:pt>
                <c:pt idx="24">
                  <c:v>73.948098398657748</c:v>
                </c:pt>
                <c:pt idx="25">
                  <c:v>72.929688504780643</c:v>
                </c:pt>
                <c:pt idx="26">
                  <c:v>72.253042124386411</c:v>
                </c:pt>
                <c:pt idx="27">
                  <c:v>71.845054059871472</c:v>
                </c:pt>
                <c:pt idx="28">
                  <c:v>71.662402275047498</c:v>
                </c:pt>
                <c:pt idx="29">
                  <c:v>71.678087801556103</c:v>
                </c:pt>
                <c:pt idx="30">
                  <c:v>71.876055669563357</c:v>
                </c:pt>
                <c:pt idx="31">
                  <c:v>72.269643774809083</c:v>
                </c:pt>
                <c:pt idx="32">
                  <c:v>72.852734074607724</c:v>
                </c:pt>
                <c:pt idx="33">
                  <c:v>73.609239689976675</c:v>
                </c:pt>
                <c:pt idx="34">
                  <c:v>74.516499349992955</c:v>
                </c:pt>
                <c:pt idx="35">
                  <c:v>75.559992034861352</c:v>
                </c:pt>
                <c:pt idx="36">
                  <c:v>76.724169890338089</c:v>
                </c:pt>
                <c:pt idx="37">
                  <c:v>78.005196846439503</c:v>
                </c:pt>
                <c:pt idx="38">
                  <c:v>79.397631039697444</c:v>
                </c:pt>
                <c:pt idx="39">
                  <c:v>80.882116320484784</c:v>
                </c:pt>
                <c:pt idx="40">
                  <c:v>82.44332872304949</c:v>
                </c:pt>
                <c:pt idx="41">
                  <c:v>84.067768611217616</c:v>
                </c:pt>
                <c:pt idx="42">
                  <c:v>85.743467635300476</c:v>
                </c:pt>
                <c:pt idx="43">
                  <c:v>87.457388050243026</c:v>
                </c:pt>
                <c:pt idx="44">
                  <c:v>89.196577015449293</c:v>
                </c:pt>
                <c:pt idx="45">
                  <c:v>90.946597163623665</c:v>
                </c:pt>
                <c:pt idx="46">
                  <c:v>92.692060128378216</c:v>
                </c:pt>
                <c:pt idx="47">
                  <c:v>94.417832547740545</c:v>
                </c:pt>
                <c:pt idx="48">
                  <c:v>96.109004128986271</c:v>
                </c:pt>
                <c:pt idx="49">
                  <c:v>97.751566107006511</c:v>
                </c:pt>
                <c:pt idx="50">
                  <c:v>99.331859422265552</c:v>
                </c:pt>
                <c:pt idx="51">
                  <c:v>100.83742387325037</c:v>
                </c:pt>
                <c:pt idx="52">
                  <c:v>102.25661100243451</c:v>
                </c:pt>
                <c:pt idx="53">
                  <c:v>103.57850506628165</c:v>
                </c:pt>
                <c:pt idx="54">
                  <c:v>104.79311760549899</c:v>
                </c:pt>
                <c:pt idx="55">
                  <c:v>105.89122261878219</c:v>
                </c:pt>
                <c:pt idx="56">
                  <c:v>106.86458553341799</c:v>
                </c:pt>
                <c:pt idx="57">
                  <c:v>107.70590321917553</c:v>
                </c:pt>
                <c:pt idx="58">
                  <c:v>108.40880243934225</c:v>
                </c:pt>
                <c:pt idx="59">
                  <c:v>108.96781311067753</c:v>
                </c:pt>
                <c:pt idx="60">
                  <c:v>109.37841376010329</c:v>
                </c:pt>
                <c:pt idx="61">
                  <c:v>109.63701983974897</c:v>
                </c:pt>
                <c:pt idx="62">
                  <c:v>109.74096503236797</c:v>
                </c:pt>
                <c:pt idx="63">
                  <c:v>109.68848832155345</c:v>
                </c:pt>
                <c:pt idx="64">
                  <c:v>109.478716222482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D60-4826-BB40-44692634279D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F$2:$F$66</c:f>
              <c:numCache>
                <c:formatCode>General</c:formatCode>
                <c:ptCount val="6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2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G$2:$G$66</c:f>
              <c:numCache>
                <c:formatCode>General</c:formatCode>
                <c:ptCount val="65"/>
                <c:pt idx="0">
                  <c:v>33</c:v>
                </c:pt>
                <c:pt idx="1">
                  <c:v>35</c:v>
                </c:pt>
                <c:pt idx="2">
                  <c:v>37</c:v>
                </c:pt>
                <c:pt idx="3">
                  <c:v>44</c:v>
                </c:pt>
                <c:pt idx="4">
                  <c:v>37</c:v>
                </c:pt>
                <c:pt idx="5">
                  <c:v>41</c:v>
                </c:pt>
                <c:pt idx="6">
                  <c:v>29</c:v>
                </c:pt>
                <c:pt idx="7">
                  <c:v>32</c:v>
                </c:pt>
                <c:pt idx="8">
                  <c:v>35</c:v>
                </c:pt>
                <c:pt idx="9">
                  <c:v>33</c:v>
                </c:pt>
                <c:pt idx="10">
                  <c:v>33</c:v>
                </c:pt>
                <c:pt idx="11">
                  <c:v>33</c:v>
                </c:pt>
                <c:pt idx="12">
                  <c:v>23</c:v>
                </c:pt>
                <c:pt idx="13">
                  <c:v>18</c:v>
                </c:pt>
                <c:pt idx="14">
                  <c:v>17</c:v>
                </c:pt>
                <c:pt idx="15">
                  <c:v>14</c:v>
                </c:pt>
                <c:pt idx="16">
                  <c:v>22</c:v>
                </c:pt>
                <c:pt idx="17">
                  <c:v>14</c:v>
                </c:pt>
                <c:pt idx="18">
                  <c:v>17</c:v>
                </c:pt>
                <c:pt idx="19">
                  <c:v>17</c:v>
                </c:pt>
                <c:pt idx="20">
                  <c:v>12</c:v>
                </c:pt>
                <c:pt idx="21">
                  <c:v>11</c:v>
                </c:pt>
                <c:pt idx="22">
                  <c:v>12</c:v>
                </c:pt>
                <c:pt idx="23">
                  <c:v>7</c:v>
                </c:pt>
                <c:pt idx="24">
                  <c:v>8</c:v>
                </c:pt>
                <c:pt idx="25">
                  <c:v>10</c:v>
                </c:pt>
                <c:pt idx="26">
                  <c:v>15</c:v>
                </c:pt>
                <c:pt idx="27">
                  <c:v>7</c:v>
                </c:pt>
                <c:pt idx="28">
                  <c:v>6</c:v>
                </c:pt>
                <c:pt idx="29">
                  <c:v>4</c:v>
                </c:pt>
                <c:pt idx="30">
                  <c:v>10</c:v>
                </c:pt>
                <c:pt idx="31">
                  <c:v>6</c:v>
                </c:pt>
                <c:pt idx="32">
                  <c:v>5</c:v>
                </c:pt>
                <c:pt idx="33">
                  <c:v>3</c:v>
                </c:pt>
                <c:pt idx="34">
                  <c:v>7</c:v>
                </c:pt>
                <c:pt idx="35">
                  <c:v>3</c:v>
                </c:pt>
                <c:pt idx="36">
                  <c:v>4</c:v>
                </c:pt>
                <c:pt idx="37">
                  <c:v>3</c:v>
                </c:pt>
                <c:pt idx="38">
                  <c:v>6</c:v>
                </c:pt>
                <c:pt idx="39">
                  <c:v>2</c:v>
                </c:pt>
                <c:pt idx="40">
                  <c:v>6</c:v>
                </c:pt>
                <c:pt idx="41">
                  <c:v>2</c:v>
                </c:pt>
                <c:pt idx="42">
                  <c:v>3</c:v>
                </c:pt>
                <c:pt idx="43">
                  <c:v>2</c:v>
                </c:pt>
                <c:pt idx="44">
                  <c:v>0</c:v>
                </c:pt>
                <c:pt idx="45">
                  <c:v>4</c:v>
                </c:pt>
                <c:pt idx="46">
                  <c:v>1</c:v>
                </c:pt>
                <c:pt idx="47">
                  <c:v>4</c:v>
                </c:pt>
                <c:pt idx="48">
                  <c:v>3</c:v>
                </c:pt>
                <c:pt idx="49">
                  <c:v>0</c:v>
                </c:pt>
                <c:pt idx="50">
                  <c:v>1</c:v>
                </c:pt>
                <c:pt idx="51">
                  <c:v>1</c:v>
                </c:pt>
                <c:pt idx="52">
                  <c:v>2</c:v>
                </c:pt>
                <c:pt idx="53">
                  <c:v>0</c:v>
                </c:pt>
                <c:pt idx="54">
                  <c:v>1</c:v>
                </c:pt>
                <c:pt idx="55">
                  <c:v>1</c:v>
                </c:pt>
                <c:pt idx="56">
                  <c:v>2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0</c:v>
                </c:pt>
                <c:pt idx="6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C$2:$C$66</c:f>
              <c:numCache>
                <c:formatCode>General</c:formatCode>
                <c:ptCount val="65"/>
                <c:pt idx="0">
                  <c:v>55.271835974329043</c:v>
                </c:pt>
                <c:pt idx="1">
                  <c:v>53.124709826056247</c:v>
                </c:pt>
                <c:pt idx="2">
                  <c:v>51.025028324498443</c:v>
                </c:pt>
                <c:pt idx="3">
                  <c:v>48.972720850424672</c:v>
                </c:pt>
                <c:pt idx="4">
                  <c:v>46.96745542336744</c:v>
                </c:pt>
                <c:pt idx="5">
                  <c:v>45.008901634492517</c:v>
                </c:pt>
                <c:pt idx="6">
                  <c:v>43.096438682057986</c:v>
                </c:pt>
                <c:pt idx="7">
                  <c:v>41.229714142701376</c:v>
                </c:pt>
                <c:pt idx="8">
                  <c:v>39.409560132765804</c:v>
                </c:pt>
                <c:pt idx="9">
                  <c:v>37.637714727025134</c:v>
                </c:pt>
                <c:pt idx="10">
                  <c:v>35.915833982804763</c:v>
                </c:pt>
                <c:pt idx="11">
                  <c:v>34.245249527876716</c:v>
                </c:pt>
                <c:pt idx="12">
                  <c:v>32.626966512903273</c:v>
                </c:pt>
                <c:pt idx="13">
                  <c:v>31.061553113502203</c:v>
                </c:pt>
                <c:pt idx="14">
                  <c:v>29.549383132733038</c:v>
                </c:pt>
                <c:pt idx="15">
                  <c:v>28.091044261622571</c:v>
                </c:pt>
                <c:pt idx="16">
                  <c:v>26.687170855361011</c:v>
                </c:pt>
                <c:pt idx="17">
                  <c:v>25.338143605604312</c:v>
                </c:pt>
                <c:pt idx="18">
                  <c:v>24.04385470417029</c:v>
                </c:pt>
                <c:pt idx="19">
                  <c:v>22.803672855697634</c:v>
                </c:pt>
                <c:pt idx="20">
                  <c:v>21.616543473003741</c:v>
                </c:pt>
                <c:pt idx="21">
                  <c:v>20.481196459271267</c:v>
                </c:pt>
                <c:pt idx="22">
                  <c:v>19.396150039635433</c:v>
                </c:pt>
                <c:pt idx="23">
                  <c:v>18.359728286777496</c:v>
                </c:pt>
                <c:pt idx="24">
                  <c:v>17.370166716566064</c:v>
                </c:pt>
                <c:pt idx="25">
                  <c:v>16.425640954080389</c:v>
                </c:pt>
                <c:pt idx="26">
                  <c:v>15.524308662016908</c:v>
                </c:pt>
                <c:pt idx="27">
                  <c:v>14.664409445130236</c:v>
                </c:pt>
                <c:pt idx="28">
                  <c:v>13.844270182618835</c:v>
                </c:pt>
                <c:pt idx="29">
                  <c:v>13.062263917046174</c:v>
                </c:pt>
                <c:pt idx="30">
                  <c:v>12.316818000750521</c:v>
                </c:pt>
                <c:pt idx="31">
                  <c:v>11.606588084063469</c:v>
                </c:pt>
                <c:pt idx="32">
                  <c:v>10.930489691071468</c:v>
                </c:pt>
                <c:pt idx="33">
                  <c:v>10.287553974746448</c:v>
                </c:pt>
                <c:pt idx="34">
                  <c:v>9.6768722872534667</c:v>
                </c:pt>
                <c:pt idx="35">
                  <c:v>9.0975939968283583</c:v>
                </c:pt>
                <c:pt idx="36">
                  <c:v>8.5488360298426223</c:v>
                </c:pt>
                <c:pt idx="37">
                  <c:v>8.0296793608450727</c:v>
                </c:pt>
                <c:pt idx="38">
                  <c:v>7.5391935224735844</c:v>
                </c:pt>
                <c:pt idx="39">
                  <c:v>7.076422773451144</c:v>
                </c:pt>
                <c:pt idx="40">
                  <c:v>6.6403439887716651</c:v>
                </c:pt>
                <c:pt idx="41">
                  <c:v>6.2298873146449774</c:v>
                </c:pt>
                <c:pt idx="42">
                  <c:v>5.8439679195420959</c:v>
                </c:pt>
                <c:pt idx="43">
                  <c:v>5.4814620514209142</c:v>
                </c:pt>
                <c:pt idx="44">
                  <c:v>5.1412281427656801</c:v>
                </c:pt>
                <c:pt idx="45">
                  <c:v>4.8221162273747034</c:v>
                </c:pt>
                <c:pt idx="46">
                  <c:v>4.5229861164146428</c:v>
                </c:pt>
                <c:pt idx="47">
                  <c:v>4.2427115790032932</c:v>
                </c:pt>
                <c:pt idx="48">
                  <c:v>3.9801786125966898</c:v>
                </c:pt>
                <c:pt idx="49">
                  <c:v>3.7342968931038252</c:v>
                </c:pt>
                <c:pt idx="50">
                  <c:v>3.5040091444710151</c:v>
                </c:pt>
                <c:pt idx="51">
                  <c:v>3.2883038329785705</c:v>
                </c:pt>
                <c:pt idx="52">
                  <c:v>3.0862203393412448</c:v>
                </c:pt>
                <c:pt idx="53">
                  <c:v>2.8968459075149706</c:v>
                </c:pt>
                <c:pt idx="54">
                  <c:v>2.7193197547495118</c:v>
                </c:pt>
                <c:pt idx="55">
                  <c:v>2.5528259746206312</c:v>
                </c:pt>
                <c:pt idx="56">
                  <c:v>2.3965970269582719</c:v>
                </c:pt>
                <c:pt idx="57">
                  <c:v>2.2499243511877465</c:v>
                </c:pt>
                <c:pt idx="58">
                  <c:v>2.1121511539162525</c:v>
                </c:pt>
                <c:pt idx="59">
                  <c:v>1.9826707039436295</c:v>
                </c:pt>
                <c:pt idx="60">
                  <c:v>1.860921815699857</c:v>
                </c:pt>
                <c:pt idx="61">
                  <c:v>1.746390128148384</c:v>
                </c:pt>
                <c:pt idx="62">
                  <c:v>1.6386020973582667</c:v>
                </c:pt>
                <c:pt idx="63">
                  <c:v>1.5371140579801543</c:v>
                </c:pt>
                <c:pt idx="64">
                  <c:v>1.44152120387381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1-46DE-A093-6A704C448CFB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D$2:$D$66</c:f>
              <c:numCache>
                <c:formatCode>General</c:formatCode>
                <c:ptCount val="65"/>
                <c:pt idx="0">
                  <c:v>55.271835974329043</c:v>
                </c:pt>
                <c:pt idx="1">
                  <c:v>53.124709826056247</c:v>
                </c:pt>
                <c:pt idx="2">
                  <c:v>51.025028324498443</c:v>
                </c:pt>
                <c:pt idx="3">
                  <c:v>48.972720850424672</c:v>
                </c:pt>
                <c:pt idx="4">
                  <c:v>46.96745542336744</c:v>
                </c:pt>
                <c:pt idx="5">
                  <c:v>45.008901634492517</c:v>
                </c:pt>
                <c:pt idx="6">
                  <c:v>43.096438682057986</c:v>
                </c:pt>
                <c:pt idx="7">
                  <c:v>41.229714142701376</c:v>
                </c:pt>
                <c:pt idx="8">
                  <c:v>39.409560132765804</c:v>
                </c:pt>
                <c:pt idx="9">
                  <c:v>37.637714727025134</c:v>
                </c:pt>
                <c:pt idx="10">
                  <c:v>35.915833982804763</c:v>
                </c:pt>
                <c:pt idx="11">
                  <c:v>34.245249527876716</c:v>
                </c:pt>
                <c:pt idx="12">
                  <c:v>32.626966512903273</c:v>
                </c:pt>
                <c:pt idx="13">
                  <c:v>31.061553113502203</c:v>
                </c:pt>
                <c:pt idx="14">
                  <c:v>29.549383132733038</c:v>
                </c:pt>
                <c:pt idx="15">
                  <c:v>28.091044261622571</c:v>
                </c:pt>
                <c:pt idx="16">
                  <c:v>26.687170855361011</c:v>
                </c:pt>
                <c:pt idx="17">
                  <c:v>25.341652028728404</c:v>
                </c:pt>
                <c:pt idx="18">
                  <c:v>24.059225990661037</c:v>
                </c:pt>
                <c:pt idx="19">
                  <c:v>22.841409171115412</c:v>
                </c:pt>
                <c:pt idx="20">
                  <c:v>21.688941690209887</c:v>
                </c:pt>
                <c:pt idx="21">
                  <c:v>20.601522143304798</c:v>
                </c:pt>
                <c:pt idx="22">
                  <c:v>19.577895799727614</c:v>
                </c:pt>
                <c:pt idx="23">
                  <c:v>18.61680418123218</c:v>
                </c:pt>
                <c:pt idx="24">
                  <c:v>17.71894924390142</c:v>
                </c:pt>
                <c:pt idx="25">
                  <c:v>16.885218339837859</c:v>
                </c:pt>
                <c:pt idx="26">
                  <c:v>16.114613872088547</c:v>
                </c:pt>
                <c:pt idx="27">
                  <c:v>15.405941892966634</c:v>
                </c:pt>
                <c:pt idx="28">
                  <c:v>14.757317122993381</c:v>
                </c:pt>
                <c:pt idx="29">
                  <c:v>14.165813435996656</c:v>
                </c:pt>
                <c:pt idx="30">
                  <c:v>13.628797416847659</c:v>
                </c:pt>
                <c:pt idx="31">
                  <c:v>13.143878694288503</c:v>
                </c:pt>
                <c:pt idx="32">
                  <c:v>12.708666812996842</c:v>
                </c:pt>
                <c:pt idx="33">
                  <c:v>12.32149122547615</c:v>
                </c:pt>
                <c:pt idx="34">
                  <c:v>11.980680396945615</c:v>
                </c:pt>
                <c:pt idx="35">
                  <c:v>11.68416699549565</c:v>
                </c:pt>
                <c:pt idx="36">
                  <c:v>11.429969753233326</c:v>
                </c:pt>
                <c:pt idx="37">
                  <c:v>11.216281880687434</c:v>
                </c:pt>
                <c:pt idx="38">
                  <c:v>11.041359905367791</c:v>
                </c:pt>
                <c:pt idx="39">
                  <c:v>10.90300749030162</c:v>
                </c:pt>
                <c:pt idx="40">
                  <c:v>10.799488529439556</c:v>
                </c:pt>
                <c:pt idx="41">
                  <c:v>10.729179345838698</c:v>
                </c:pt>
                <c:pt idx="42">
                  <c:v>10.689707707091818</c:v>
                </c:pt>
                <c:pt idx="43">
                  <c:v>10.67914550807051</c:v>
                </c:pt>
                <c:pt idx="44">
                  <c:v>10.695649788132465</c:v>
                </c:pt>
                <c:pt idx="45">
                  <c:v>10.737251712422173</c:v>
                </c:pt>
                <c:pt idx="46">
                  <c:v>10.801751784746962</c:v>
                </c:pt>
                <c:pt idx="47">
                  <c:v>10.886992313432717</c:v>
                </c:pt>
                <c:pt idx="48">
                  <c:v>10.991049555929713</c:v>
                </c:pt>
                <c:pt idx="49">
                  <c:v>11.111574670855802</c:v>
                </c:pt>
                <c:pt idx="50">
                  <c:v>11.246410333221478</c:v>
                </c:pt>
                <c:pt idx="51">
                  <c:v>11.393480366361693</c:v>
                </c:pt>
                <c:pt idx="52">
                  <c:v>11.550701645677631</c:v>
                </c:pt>
                <c:pt idx="53">
                  <c:v>11.716083539096001</c:v>
                </c:pt>
                <c:pt idx="54">
                  <c:v>11.887545087416527</c:v>
                </c:pt>
                <c:pt idx="55">
                  <c:v>12.063105985530841</c:v>
                </c:pt>
                <c:pt idx="56">
                  <c:v>12.240734703253057</c:v>
                </c:pt>
                <c:pt idx="57">
                  <c:v>12.418569569083791</c:v>
                </c:pt>
                <c:pt idx="58">
                  <c:v>12.59490982989619</c:v>
                </c:pt>
                <c:pt idx="59">
                  <c:v>12.768030338577155</c:v>
                </c:pt>
                <c:pt idx="60">
                  <c:v>12.936271791143474</c:v>
                </c:pt>
                <c:pt idx="61">
                  <c:v>13.098085315416895</c:v>
                </c:pt>
                <c:pt idx="62">
                  <c:v>13.252024304939287</c:v>
                </c:pt>
                <c:pt idx="63">
                  <c:v>13.396670885108941</c:v>
                </c:pt>
                <c:pt idx="64">
                  <c:v>13.5307434647626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31-46DE-A093-6A704C448CFB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F$2:$F$66</c:f>
              <c:numCache>
                <c:formatCode>General</c:formatCode>
                <c:ptCount val="6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2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35411079183262595"/>
          <c:y val="5.8593746395561863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4 15-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B$5:$B$249</c:f>
              <c:numCache>
                <c:formatCode>General</c:formatCode>
                <c:ptCount val="245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3</c:v>
                </c:pt>
                <c:pt idx="6">
                  <c:v>9</c:v>
                </c:pt>
                <c:pt idx="7">
                  <c:v>15</c:v>
                </c:pt>
                <c:pt idx="8">
                  <c:v>19</c:v>
                </c:pt>
                <c:pt idx="9">
                  <c:v>21</c:v>
                </c:pt>
                <c:pt idx="10">
                  <c:v>5</c:v>
                </c:pt>
                <c:pt idx="11">
                  <c:v>2</c:v>
                </c:pt>
                <c:pt idx="12">
                  <c:v>22</c:v>
                </c:pt>
                <c:pt idx="13">
                  <c:v>46</c:v>
                </c:pt>
                <c:pt idx="14">
                  <c:v>38</c:v>
                </c:pt>
                <c:pt idx="15">
                  <c:v>79</c:v>
                </c:pt>
                <c:pt idx="16">
                  <c:v>54</c:v>
                </c:pt>
                <c:pt idx="17">
                  <c:v>5</c:v>
                </c:pt>
                <c:pt idx="18">
                  <c:v>7</c:v>
                </c:pt>
                <c:pt idx="19">
                  <c:v>26</c:v>
                </c:pt>
                <c:pt idx="20">
                  <c:v>16</c:v>
                </c:pt>
                <c:pt idx="21">
                  <c:v>21</c:v>
                </c:pt>
                <c:pt idx="22">
                  <c:v>29</c:v>
                </c:pt>
                <c:pt idx="23">
                  <c:v>20</c:v>
                </c:pt>
                <c:pt idx="24">
                  <c:v>2</c:v>
                </c:pt>
                <c:pt idx="25">
                  <c:v>1</c:v>
                </c:pt>
                <c:pt idx="26">
                  <c:v>14</c:v>
                </c:pt>
                <c:pt idx="27">
                  <c:v>33</c:v>
                </c:pt>
                <c:pt idx="28">
                  <c:v>22</c:v>
                </c:pt>
                <c:pt idx="29">
                  <c:v>20</c:v>
                </c:pt>
                <c:pt idx="30">
                  <c:v>10</c:v>
                </c:pt>
                <c:pt idx="31">
                  <c:v>0</c:v>
                </c:pt>
                <c:pt idx="32">
                  <c:v>1</c:v>
                </c:pt>
                <c:pt idx="33">
                  <c:v>5</c:v>
                </c:pt>
                <c:pt idx="34">
                  <c:v>7</c:v>
                </c:pt>
                <c:pt idx="35">
                  <c:v>9</c:v>
                </c:pt>
                <c:pt idx="36">
                  <c:v>9</c:v>
                </c:pt>
                <c:pt idx="37">
                  <c:v>10</c:v>
                </c:pt>
                <c:pt idx="38">
                  <c:v>0</c:v>
                </c:pt>
                <c:pt idx="39">
                  <c:v>1</c:v>
                </c:pt>
                <c:pt idx="40">
                  <c:v>6</c:v>
                </c:pt>
                <c:pt idx="41">
                  <c:v>15</c:v>
                </c:pt>
                <c:pt idx="42">
                  <c:v>7</c:v>
                </c:pt>
                <c:pt idx="43">
                  <c:v>19</c:v>
                </c:pt>
                <c:pt idx="44">
                  <c:v>17</c:v>
                </c:pt>
                <c:pt idx="45">
                  <c:v>7</c:v>
                </c:pt>
                <c:pt idx="46">
                  <c:v>0</c:v>
                </c:pt>
                <c:pt idx="47">
                  <c:v>7</c:v>
                </c:pt>
                <c:pt idx="48">
                  <c:v>18</c:v>
                </c:pt>
                <c:pt idx="49">
                  <c:v>11</c:v>
                </c:pt>
                <c:pt idx="50">
                  <c:v>21</c:v>
                </c:pt>
                <c:pt idx="51">
                  <c:v>28</c:v>
                </c:pt>
                <c:pt idx="52">
                  <c:v>5</c:v>
                </c:pt>
                <c:pt idx="53">
                  <c:v>1</c:v>
                </c:pt>
                <c:pt idx="54">
                  <c:v>15</c:v>
                </c:pt>
                <c:pt idx="55">
                  <c:v>11</c:v>
                </c:pt>
                <c:pt idx="56">
                  <c:v>33</c:v>
                </c:pt>
                <c:pt idx="57">
                  <c:v>30</c:v>
                </c:pt>
                <c:pt idx="58">
                  <c:v>84</c:v>
                </c:pt>
                <c:pt idx="59">
                  <c:v>47</c:v>
                </c:pt>
                <c:pt idx="60">
                  <c:v>4</c:v>
                </c:pt>
                <c:pt idx="61">
                  <c:v>25</c:v>
                </c:pt>
                <c:pt idx="62">
                  <c:v>20</c:v>
                </c:pt>
                <c:pt idx="63">
                  <c:v>24</c:v>
                </c:pt>
                <c:pt idx="64">
                  <c:v>24</c:v>
                </c:pt>
                <c:pt idx="65">
                  <c:v>36</c:v>
                </c:pt>
                <c:pt idx="66">
                  <c:v>20</c:v>
                </c:pt>
                <c:pt idx="67">
                  <c:v>17</c:v>
                </c:pt>
                <c:pt idx="68">
                  <c:v>24</c:v>
                </c:pt>
                <c:pt idx="69">
                  <c:v>104</c:v>
                </c:pt>
                <c:pt idx="70">
                  <c:v>58</c:v>
                </c:pt>
                <c:pt idx="71">
                  <c:v>48</c:v>
                </c:pt>
                <c:pt idx="72">
                  <c:v>63</c:v>
                </c:pt>
                <c:pt idx="73">
                  <c:v>26</c:v>
                </c:pt>
                <c:pt idx="74">
                  <c:v>18</c:v>
                </c:pt>
                <c:pt idx="75">
                  <c:v>127</c:v>
                </c:pt>
                <c:pt idx="76">
                  <c:v>56</c:v>
                </c:pt>
                <c:pt idx="77">
                  <c:v>86</c:v>
                </c:pt>
                <c:pt idx="78">
                  <c:v>47</c:v>
                </c:pt>
                <c:pt idx="79">
                  <c:v>151</c:v>
                </c:pt>
                <c:pt idx="80">
                  <c:v>63</c:v>
                </c:pt>
                <c:pt idx="81">
                  <c:v>22</c:v>
                </c:pt>
                <c:pt idx="82">
                  <c:v>33</c:v>
                </c:pt>
                <c:pt idx="83">
                  <c:v>48</c:v>
                </c:pt>
                <c:pt idx="84">
                  <c:v>46</c:v>
                </c:pt>
                <c:pt idx="85">
                  <c:v>72</c:v>
                </c:pt>
                <c:pt idx="86">
                  <c:v>118</c:v>
                </c:pt>
                <c:pt idx="87">
                  <c:v>16</c:v>
                </c:pt>
                <c:pt idx="88">
                  <c:v>10</c:v>
                </c:pt>
                <c:pt idx="89">
                  <c:v>33</c:v>
                </c:pt>
                <c:pt idx="90">
                  <c:v>41</c:v>
                </c:pt>
                <c:pt idx="91">
                  <c:v>51</c:v>
                </c:pt>
                <c:pt idx="92">
                  <c:v>48</c:v>
                </c:pt>
                <c:pt idx="93">
                  <c:v>18</c:v>
                </c:pt>
                <c:pt idx="94">
                  <c:v>8</c:v>
                </c:pt>
                <c:pt idx="95">
                  <c:v>8</c:v>
                </c:pt>
                <c:pt idx="96">
                  <c:v>9</c:v>
                </c:pt>
                <c:pt idx="97">
                  <c:v>25</c:v>
                </c:pt>
                <c:pt idx="98">
                  <c:v>46</c:v>
                </c:pt>
                <c:pt idx="99">
                  <c:v>65</c:v>
                </c:pt>
                <c:pt idx="100">
                  <c:v>91</c:v>
                </c:pt>
                <c:pt idx="101">
                  <c:v>27</c:v>
                </c:pt>
                <c:pt idx="102">
                  <c:v>31</c:v>
                </c:pt>
                <c:pt idx="103">
                  <c:v>76</c:v>
                </c:pt>
                <c:pt idx="104">
                  <c:v>61</c:v>
                </c:pt>
                <c:pt idx="105">
                  <c:v>62</c:v>
                </c:pt>
                <c:pt idx="106">
                  <c:v>103</c:v>
                </c:pt>
                <c:pt idx="107">
                  <c:v>100</c:v>
                </c:pt>
                <c:pt idx="108">
                  <c:v>35</c:v>
                </c:pt>
                <c:pt idx="109">
                  <c:v>22</c:v>
                </c:pt>
                <c:pt idx="110">
                  <c:v>119</c:v>
                </c:pt>
                <c:pt idx="111">
                  <c:v>62</c:v>
                </c:pt>
                <c:pt idx="112">
                  <c:v>118</c:v>
                </c:pt>
                <c:pt idx="113">
                  <c:v>152</c:v>
                </c:pt>
                <c:pt idx="114">
                  <c:v>170</c:v>
                </c:pt>
                <c:pt idx="115">
                  <c:v>85</c:v>
                </c:pt>
                <c:pt idx="116">
                  <c:v>45</c:v>
                </c:pt>
                <c:pt idx="117">
                  <c:v>115</c:v>
                </c:pt>
                <c:pt idx="118">
                  <c:v>100</c:v>
                </c:pt>
                <c:pt idx="119">
                  <c:v>122</c:v>
                </c:pt>
                <c:pt idx="120">
                  <c:v>113</c:v>
                </c:pt>
                <c:pt idx="121">
                  <c:v>169</c:v>
                </c:pt>
                <c:pt idx="122">
                  <c:v>43</c:v>
                </c:pt>
                <c:pt idx="123">
                  <c:v>55</c:v>
                </c:pt>
                <c:pt idx="124">
                  <c:v>137</c:v>
                </c:pt>
                <c:pt idx="125">
                  <c:v>144</c:v>
                </c:pt>
                <c:pt idx="126">
                  <c:v>199</c:v>
                </c:pt>
                <c:pt idx="127">
                  <c:v>162</c:v>
                </c:pt>
                <c:pt idx="128">
                  <c:v>245</c:v>
                </c:pt>
                <c:pt idx="129">
                  <c:v>88</c:v>
                </c:pt>
                <c:pt idx="130">
                  <c:v>54</c:v>
                </c:pt>
                <c:pt idx="131">
                  <c:v>159</c:v>
                </c:pt>
                <c:pt idx="132">
                  <c:v>178</c:v>
                </c:pt>
                <c:pt idx="133">
                  <c:v>139</c:v>
                </c:pt>
                <c:pt idx="134">
                  <c:v>226</c:v>
                </c:pt>
                <c:pt idx="135">
                  <c:v>191</c:v>
                </c:pt>
                <c:pt idx="136">
                  <c:v>94</c:v>
                </c:pt>
                <c:pt idx="137">
                  <c:v>67</c:v>
                </c:pt>
                <c:pt idx="138">
                  <c:v>174</c:v>
                </c:pt>
                <c:pt idx="139">
                  <c:v>153</c:v>
                </c:pt>
                <c:pt idx="140">
                  <c:v>149</c:v>
                </c:pt>
                <c:pt idx="141">
                  <c:v>208</c:v>
                </c:pt>
                <c:pt idx="142">
                  <c:v>189</c:v>
                </c:pt>
                <c:pt idx="143">
                  <c:v>78</c:v>
                </c:pt>
                <c:pt idx="144">
                  <c:v>62</c:v>
                </c:pt>
                <c:pt idx="145">
                  <c:v>75</c:v>
                </c:pt>
                <c:pt idx="146">
                  <c:v>142</c:v>
                </c:pt>
                <c:pt idx="147">
                  <c:v>177</c:v>
                </c:pt>
                <c:pt idx="148">
                  <c:v>172</c:v>
                </c:pt>
                <c:pt idx="149">
                  <c:v>392</c:v>
                </c:pt>
                <c:pt idx="150">
                  <c:v>103</c:v>
                </c:pt>
                <c:pt idx="151">
                  <c:v>50</c:v>
                </c:pt>
                <c:pt idx="152">
                  <c:v>149</c:v>
                </c:pt>
                <c:pt idx="153">
                  <c:v>191</c:v>
                </c:pt>
                <c:pt idx="154">
                  <c:v>293</c:v>
                </c:pt>
                <c:pt idx="155">
                  <c:v>293</c:v>
                </c:pt>
                <c:pt idx="156">
                  <c:v>963</c:v>
                </c:pt>
                <c:pt idx="157">
                  <c:v>620</c:v>
                </c:pt>
                <c:pt idx="158">
                  <c:v>974</c:v>
                </c:pt>
                <c:pt idx="159">
                  <c:v>1729</c:v>
                </c:pt>
                <c:pt idx="160">
                  <c:v>2923</c:v>
                </c:pt>
                <c:pt idx="161">
                  <c:v>2528</c:v>
                </c:pt>
                <c:pt idx="162">
                  <c:v>1298</c:v>
                </c:pt>
                <c:pt idx="163">
                  <c:v>1298</c:v>
                </c:pt>
                <c:pt idx="164">
                  <c:v>1298</c:v>
                </c:pt>
                <c:pt idx="165">
                  <c:v>1298</c:v>
                </c:pt>
                <c:pt idx="166">
                  <c:v>1298</c:v>
                </c:pt>
                <c:pt idx="167">
                  <c:v>1298</c:v>
                </c:pt>
                <c:pt idx="168">
                  <c:v>1298</c:v>
                </c:pt>
                <c:pt idx="169">
                  <c:v>1298</c:v>
                </c:pt>
                <c:pt idx="170">
                  <c:v>1298</c:v>
                </c:pt>
                <c:pt idx="171">
                  <c:v>1298</c:v>
                </c:pt>
                <c:pt idx="172">
                  <c:v>1298</c:v>
                </c:pt>
                <c:pt idx="173">
                  <c:v>1298</c:v>
                </c:pt>
                <c:pt idx="174">
                  <c:v>1298</c:v>
                </c:pt>
                <c:pt idx="175">
                  <c:v>1298</c:v>
                </c:pt>
                <c:pt idx="176">
                  <c:v>1298</c:v>
                </c:pt>
                <c:pt idx="177">
                  <c:v>1298</c:v>
                </c:pt>
                <c:pt idx="178">
                  <c:v>1298</c:v>
                </c:pt>
                <c:pt idx="179">
                  <c:v>1298</c:v>
                </c:pt>
                <c:pt idx="180">
                  <c:v>1298</c:v>
                </c:pt>
                <c:pt idx="181">
                  <c:v>1298</c:v>
                </c:pt>
                <c:pt idx="182">
                  <c:v>1298</c:v>
                </c:pt>
                <c:pt idx="183">
                  <c:v>1947</c:v>
                </c:pt>
                <c:pt idx="184">
                  <c:v>1947</c:v>
                </c:pt>
                <c:pt idx="185">
                  <c:v>1947</c:v>
                </c:pt>
                <c:pt idx="186">
                  <c:v>1947</c:v>
                </c:pt>
                <c:pt idx="187">
                  <c:v>1947</c:v>
                </c:pt>
                <c:pt idx="188">
                  <c:v>1947</c:v>
                </c:pt>
                <c:pt idx="189">
                  <c:v>1947</c:v>
                </c:pt>
                <c:pt idx="190">
                  <c:v>1947</c:v>
                </c:pt>
                <c:pt idx="191">
                  <c:v>1947</c:v>
                </c:pt>
                <c:pt idx="192">
                  <c:v>1947</c:v>
                </c:pt>
                <c:pt idx="193">
                  <c:v>1947</c:v>
                </c:pt>
                <c:pt idx="194">
                  <c:v>1947</c:v>
                </c:pt>
                <c:pt idx="195">
                  <c:v>1947</c:v>
                </c:pt>
                <c:pt idx="196">
                  <c:v>1947</c:v>
                </c:pt>
                <c:pt idx="197">
                  <c:v>1947</c:v>
                </c:pt>
                <c:pt idx="198">
                  <c:v>1947</c:v>
                </c:pt>
                <c:pt idx="199">
                  <c:v>1947</c:v>
                </c:pt>
                <c:pt idx="200">
                  <c:v>1947</c:v>
                </c:pt>
                <c:pt idx="201">
                  <c:v>1947</c:v>
                </c:pt>
                <c:pt idx="202">
                  <c:v>1947</c:v>
                </c:pt>
                <c:pt idx="203">
                  <c:v>1947</c:v>
                </c:pt>
                <c:pt idx="204">
                  <c:v>1947</c:v>
                </c:pt>
                <c:pt idx="205">
                  <c:v>1947</c:v>
                </c:pt>
                <c:pt idx="206">
                  <c:v>1947</c:v>
                </c:pt>
                <c:pt idx="207">
                  <c:v>1947</c:v>
                </c:pt>
                <c:pt idx="208">
                  <c:v>1947</c:v>
                </c:pt>
                <c:pt idx="209">
                  <c:v>1947</c:v>
                </c:pt>
                <c:pt idx="210">
                  <c:v>1947</c:v>
                </c:pt>
                <c:pt idx="211">
                  <c:v>1947</c:v>
                </c:pt>
                <c:pt idx="212">
                  <c:v>1947</c:v>
                </c:pt>
                <c:pt idx="213">
                  <c:v>1947</c:v>
                </c:pt>
                <c:pt idx="214">
                  <c:v>7465</c:v>
                </c:pt>
                <c:pt idx="215">
                  <c:v>7465</c:v>
                </c:pt>
                <c:pt idx="216">
                  <c:v>7465</c:v>
                </c:pt>
                <c:pt idx="217">
                  <c:v>7465</c:v>
                </c:pt>
                <c:pt idx="218">
                  <c:v>7465</c:v>
                </c:pt>
                <c:pt idx="219">
                  <c:v>7465</c:v>
                </c:pt>
                <c:pt idx="220">
                  <c:v>7465</c:v>
                </c:pt>
                <c:pt idx="221">
                  <c:v>7465</c:v>
                </c:pt>
                <c:pt idx="222">
                  <c:v>7465</c:v>
                </c:pt>
                <c:pt idx="223">
                  <c:v>7465</c:v>
                </c:pt>
                <c:pt idx="224">
                  <c:v>7465</c:v>
                </c:pt>
                <c:pt idx="225">
                  <c:v>7465</c:v>
                </c:pt>
                <c:pt idx="226">
                  <c:v>7465</c:v>
                </c:pt>
                <c:pt idx="227">
                  <c:v>7465</c:v>
                </c:pt>
                <c:pt idx="228">
                  <c:v>7465</c:v>
                </c:pt>
                <c:pt idx="229">
                  <c:v>7465</c:v>
                </c:pt>
                <c:pt idx="230">
                  <c:v>7465</c:v>
                </c:pt>
                <c:pt idx="231">
                  <c:v>7465</c:v>
                </c:pt>
                <c:pt idx="232">
                  <c:v>7465</c:v>
                </c:pt>
                <c:pt idx="233">
                  <c:v>7465</c:v>
                </c:pt>
                <c:pt idx="234">
                  <c:v>7465</c:v>
                </c:pt>
                <c:pt idx="235">
                  <c:v>7465</c:v>
                </c:pt>
                <c:pt idx="236">
                  <c:v>7465</c:v>
                </c:pt>
                <c:pt idx="237">
                  <c:v>7465</c:v>
                </c:pt>
                <c:pt idx="238">
                  <c:v>7465</c:v>
                </c:pt>
                <c:pt idx="239">
                  <c:v>7465</c:v>
                </c:pt>
                <c:pt idx="240">
                  <c:v>7465</c:v>
                </c:pt>
                <c:pt idx="241">
                  <c:v>7465</c:v>
                </c:pt>
                <c:pt idx="242">
                  <c:v>7465</c:v>
                </c:pt>
                <c:pt idx="243">
                  <c:v>7465</c:v>
                </c:pt>
                <c:pt idx="244">
                  <c:v>74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67-42C6-AC42-927B0F02AEC7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5 20-24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C$5:$C$249</c:f>
              <c:numCache>
                <c:formatCode>General</c:formatCode>
                <c:ptCount val="245"/>
                <c:pt idx="0">
                  <c:v>106</c:v>
                </c:pt>
                <c:pt idx="1">
                  <c:v>42</c:v>
                </c:pt>
                <c:pt idx="2">
                  <c:v>5</c:v>
                </c:pt>
                <c:pt idx="3">
                  <c:v>33</c:v>
                </c:pt>
                <c:pt idx="4">
                  <c:v>26</c:v>
                </c:pt>
                <c:pt idx="5">
                  <c:v>87</c:v>
                </c:pt>
                <c:pt idx="6">
                  <c:v>118</c:v>
                </c:pt>
                <c:pt idx="7">
                  <c:v>146</c:v>
                </c:pt>
                <c:pt idx="8">
                  <c:v>221</c:v>
                </c:pt>
                <c:pt idx="9">
                  <c:v>281</c:v>
                </c:pt>
                <c:pt idx="10">
                  <c:v>46</c:v>
                </c:pt>
                <c:pt idx="11">
                  <c:v>53</c:v>
                </c:pt>
                <c:pt idx="12">
                  <c:v>337</c:v>
                </c:pt>
                <c:pt idx="13">
                  <c:v>396</c:v>
                </c:pt>
                <c:pt idx="14">
                  <c:v>346</c:v>
                </c:pt>
                <c:pt idx="15">
                  <c:v>379</c:v>
                </c:pt>
                <c:pt idx="16">
                  <c:v>345</c:v>
                </c:pt>
                <c:pt idx="17">
                  <c:v>60</c:v>
                </c:pt>
                <c:pt idx="18">
                  <c:v>34</c:v>
                </c:pt>
                <c:pt idx="19">
                  <c:v>208</c:v>
                </c:pt>
                <c:pt idx="20">
                  <c:v>167</c:v>
                </c:pt>
                <c:pt idx="21">
                  <c:v>182</c:v>
                </c:pt>
                <c:pt idx="22">
                  <c:v>152</c:v>
                </c:pt>
                <c:pt idx="23">
                  <c:v>176</c:v>
                </c:pt>
                <c:pt idx="24">
                  <c:v>18</c:v>
                </c:pt>
                <c:pt idx="25">
                  <c:v>12</c:v>
                </c:pt>
                <c:pt idx="26">
                  <c:v>137</c:v>
                </c:pt>
                <c:pt idx="27">
                  <c:v>169</c:v>
                </c:pt>
                <c:pt idx="28">
                  <c:v>120</c:v>
                </c:pt>
                <c:pt idx="29">
                  <c:v>97</c:v>
                </c:pt>
                <c:pt idx="30">
                  <c:v>68</c:v>
                </c:pt>
                <c:pt idx="31">
                  <c:v>1</c:v>
                </c:pt>
                <c:pt idx="32">
                  <c:v>1</c:v>
                </c:pt>
                <c:pt idx="33">
                  <c:v>53</c:v>
                </c:pt>
                <c:pt idx="34">
                  <c:v>54</c:v>
                </c:pt>
                <c:pt idx="35">
                  <c:v>48</c:v>
                </c:pt>
                <c:pt idx="36">
                  <c:v>47</c:v>
                </c:pt>
                <c:pt idx="37">
                  <c:v>58</c:v>
                </c:pt>
                <c:pt idx="38">
                  <c:v>1</c:v>
                </c:pt>
                <c:pt idx="39">
                  <c:v>7</c:v>
                </c:pt>
                <c:pt idx="40">
                  <c:v>42</c:v>
                </c:pt>
                <c:pt idx="41">
                  <c:v>48</c:v>
                </c:pt>
                <c:pt idx="42">
                  <c:v>72</c:v>
                </c:pt>
                <c:pt idx="43">
                  <c:v>93</c:v>
                </c:pt>
                <c:pt idx="44">
                  <c:v>86</c:v>
                </c:pt>
                <c:pt idx="45">
                  <c:v>38</c:v>
                </c:pt>
                <c:pt idx="46">
                  <c:v>13</c:v>
                </c:pt>
                <c:pt idx="47">
                  <c:v>101</c:v>
                </c:pt>
                <c:pt idx="48">
                  <c:v>99</c:v>
                </c:pt>
                <c:pt idx="49">
                  <c:v>136</c:v>
                </c:pt>
                <c:pt idx="50">
                  <c:v>128</c:v>
                </c:pt>
                <c:pt idx="51">
                  <c:v>171</c:v>
                </c:pt>
                <c:pt idx="52">
                  <c:v>26</c:v>
                </c:pt>
                <c:pt idx="53">
                  <c:v>3</c:v>
                </c:pt>
                <c:pt idx="54">
                  <c:v>123</c:v>
                </c:pt>
                <c:pt idx="55">
                  <c:v>162</c:v>
                </c:pt>
                <c:pt idx="56">
                  <c:v>224</c:v>
                </c:pt>
                <c:pt idx="57">
                  <c:v>236</c:v>
                </c:pt>
                <c:pt idx="58">
                  <c:v>233</c:v>
                </c:pt>
                <c:pt idx="59">
                  <c:v>30</c:v>
                </c:pt>
                <c:pt idx="60">
                  <c:v>26</c:v>
                </c:pt>
                <c:pt idx="61">
                  <c:v>207</c:v>
                </c:pt>
                <c:pt idx="62">
                  <c:v>292</c:v>
                </c:pt>
                <c:pt idx="63">
                  <c:v>289</c:v>
                </c:pt>
                <c:pt idx="64">
                  <c:v>221</c:v>
                </c:pt>
                <c:pt idx="65">
                  <c:v>275</c:v>
                </c:pt>
                <c:pt idx="66">
                  <c:v>123</c:v>
                </c:pt>
                <c:pt idx="67">
                  <c:v>148</c:v>
                </c:pt>
                <c:pt idx="68">
                  <c:v>257</c:v>
                </c:pt>
                <c:pt idx="69">
                  <c:v>280</c:v>
                </c:pt>
                <c:pt idx="70">
                  <c:v>439</c:v>
                </c:pt>
                <c:pt idx="71">
                  <c:v>510</c:v>
                </c:pt>
                <c:pt idx="72">
                  <c:v>474</c:v>
                </c:pt>
                <c:pt idx="73">
                  <c:v>195</c:v>
                </c:pt>
                <c:pt idx="74">
                  <c:v>177</c:v>
                </c:pt>
                <c:pt idx="75">
                  <c:v>305</c:v>
                </c:pt>
                <c:pt idx="76">
                  <c:v>389</c:v>
                </c:pt>
                <c:pt idx="77">
                  <c:v>375</c:v>
                </c:pt>
                <c:pt idx="78">
                  <c:v>340</c:v>
                </c:pt>
                <c:pt idx="79">
                  <c:v>362</c:v>
                </c:pt>
                <c:pt idx="80">
                  <c:v>180</c:v>
                </c:pt>
                <c:pt idx="81">
                  <c:v>81</c:v>
                </c:pt>
                <c:pt idx="82">
                  <c:v>226</c:v>
                </c:pt>
                <c:pt idx="83">
                  <c:v>280</c:v>
                </c:pt>
                <c:pt idx="84">
                  <c:v>311</c:v>
                </c:pt>
                <c:pt idx="85">
                  <c:v>294</c:v>
                </c:pt>
                <c:pt idx="86">
                  <c:v>363</c:v>
                </c:pt>
                <c:pt idx="87">
                  <c:v>83</c:v>
                </c:pt>
                <c:pt idx="88">
                  <c:v>72</c:v>
                </c:pt>
                <c:pt idx="89">
                  <c:v>182</c:v>
                </c:pt>
                <c:pt idx="90">
                  <c:v>249</c:v>
                </c:pt>
                <c:pt idx="91">
                  <c:v>258</c:v>
                </c:pt>
                <c:pt idx="92">
                  <c:v>286</c:v>
                </c:pt>
                <c:pt idx="93">
                  <c:v>90</c:v>
                </c:pt>
                <c:pt idx="94">
                  <c:v>58</c:v>
                </c:pt>
                <c:pt idx="95">
                  <c:v>27</c:v>
                </c:pt>
                <c:pt idx="96">
                  <c:v>24</c:v>
                </c:pt>
                <c:pt idx="97">
                  <c:v>117</c:v>
                </c:pt>
                <c:pt idx="98">
                  <c:v>194</c:v>
                </c:pt>
                <c:pt idx="99">
                  <c:v>383</c:v>
                </c:pt>
                <c:pt idx="100">
                  <c:v>436</c:v>
                </c:pt>
                <c:pt idx="101">
                  <c:v>135</c:v>
                </c:pt>
                <c:pt idx="102">
                  <c:v>101</c:v>
                </c:pt>
                <c:pt idx="103">
                  <c:v>306</c:v>
                </c:pt>
                <c:pt idx="104">
                  <c:v>293</c:v>
                </c:pt>
                <c:pt idx="105">
                  <c:v>275</c:v>
                </c:pt>
                <c:pt idx="106">
                  <c:v>458</c:v>
                </c:pt>
                <c:pt idx="107">
                  <c:v>477</c:v>
                </c:pt>
                <c:pt idx="108">
                  <c:v>221</c:v>
                </c:pt>
                <c:pt idx="109">
                  <c:v>195</c:v>
                </c:pt>
                <c:pt idx="110">
                  <c:v>503</c:v>
                </c:pt>
                <c:pt idx="111">
                  <c:v>422</c:v>
                </c:pt>
                <c:pt idx="112">
                  <c:v>413</c:v>
                </c:pt>
                <c:pt idx="113">
                  <c:v>490</c:v>
                </c:pt>
                <c:pt idx="114">
                  <c:v>659</c:v>
                </c:pt>
                <c:pt idx="115">
                  <c:v>253</c:v>
                </c:pt>
                <c:pt idx="116">
                  <c:v>127</c:v>
                </c:pt>
                <c:pt idx="117">
                  <c:v>399</c:v>
                </c:pt>
                <c:pt idx="118">
                  <c:v>337</c:v>
                </c:pt>
                <c:pt idx="119">
                  <c:v>383</c:v>
                </c:pt>
                <c:pt idx="120">
                  <c:v>398</c:v>
                </c:pt>
                <c:pt idx="121">
                  <c:v>604</c:v>
                </c:pt>
                <c:pt idx="122">
                  <c:v>154</c:v>
                </c:pt>
                <c:pt idx="123">
                  <c:v>167</c:v>
                </c:pt>
                <c:pt idx="124">
                  <c:v>408</c:v>
                </c:pt>
                <c:pt idx="125">
                  <c:v>401</c:v>
                </c:pt>
                <c:pt idx="126">
                  <c:v>484</c:v>
                </c:pt>
                <c:pt idx="127">
                  <c:v>551</c:v>
                </c:pt>
                <c:pt idx="128">
                  <c:v>715</c:v>
                </c:pt>
                <c:pt idx="129">
                  <c:v>246</c:v>
                </c:pt>
                <c:pt idx="130">
                  <c:v>199</c:v>
                </c:pt>
                <c:pt idx="131">
                  <c:v>446</c:v>
                </c:pt>
                <c:pt idx="132">
                  <c:v>541</c:v>
                </c:pt>
                <c:pt idx="133">
                  <c:v>594</c:v>
                </c:pt>
                <c:pt idx="134">
                  <c:v>603</c:v>
                </c:pt>
                <c:pt idx="135">
                  <c:v>592</c:v>
                </c:pt>
                <c:pt idx="136">
                  <c:v>394</c:v>
                </c:pt>
                <c:pt idx="137">
                  <c:v>204</c:v>
                </c:pt>
                <c:pt idx="138">
                  <c:v>437</c:v>
                </c:pt>
                <c:pt idx="139">
                  <c:v>530</c:v>
                </c:pt>
                <c:pt idx="140">
                  <c:v>560</c:v>
                </c:pt>
                <c:pt idx="141">
                  <c:v>660</c:v>
                </c:pt>
                <c:pt idx="142">
                  <c:v>667</c:v>
                </c:pt>
                <c:pt idx="143">
                  <c:v>218</c:v>
                </c:pt>
                <c:pt idx="144">
                  <c:v>164</c:v>
                </c:pt>
                <c:pt idx="145">
                  <c:v>452</c:v>
                </c:pt>
                <c:pt idx="146">
                  <c:v>450</c:v>
                </c:pt>
                <c:pt idx="147">
                  <c:v>706</c:v>
                </c:pt>
                <c:pt idx="148">
                  <c:v>657</c:v>
                </c:pt>
                <c:pt idx="149">
                  <c:v>691</c:v>
                </c:pt>
                <c:pt idx="150">
                  <c:v>278</c:v>
                </c:pt>
                <c:pt idx="151">
                  <c:v>149</c:v>
                </c:pt>
                <c:pt idx="152">
                  <c:v>523</c:v>
                </c:pt>
                <c:pt idx="153">
                  <c:v>709</c:v>
                </c:pt>
                <c:pt idx="154">
                  <c:v>836</c:v>
                </c:pt>
                <c:pt idx="155">
                  <c:v>837</c:v>
                </c:pt>
                <c:pt idx="156">
                  <c:v>1701</c:v>
                </c:pt>
                <c:pt idx="157">
                  <c:v>1360</c:v>
                </c:pt>
                <c:pt idx="158">
                  <c:v>1536</c:v>
                </c:pt>
                <c:pt idx="159">
                  <c:v>3242</c:v>
                </c:pt>
                <c:pt idx="160">
                  <c:v>4508</c:v>
                </c:pt>
                <c:pt idx="161">
                  <c:v>3977</c:v>
                </c:pt>
                <c:pt idx="162">
                  <c:v>2176</c:v>
                </c:pt>
                <c:pt idx="163">
                  <c:v>2176</c:v>
                </c:pt>
                <c:pt idx="164">
                  <c:v>2176</c:v>
                </c:pt>
                <c:pt idx="165">
                  <c:v>2176</c:v>
                </c:pt>
                <c:pt idx="166">
                  <c:v>2176</c:v>
                </c:pt>
                <c:pt idx="167">
                  <c:v>2176</c:v>
                </c:pt>
                <c:pt idx="168">
                  <c:v>2176</c:v>
                </c:pt>
                <c:pt idx="169">
                  <c:v>2176</c:v>
                </c:pt>
                <c:pt idx="170">
                  <c:v>2176</c:v>
                </c:pt>
                <c:pt idx="171">
                  <c:v>2176</c:v>
                </c:pt>
                <c:pt idx="172">
                  <c:v>2176</c:v>
                </c:pt>
                <c:pt idx="173">
                  <c:v>2176</c:v>
                </c:pt>
                <c:pt idx="174">
                  <c:v>2176</c:v>
                </c:pt>
                <c:pt idx="175">
                  <c:v>2176</c:v>
                </c:pt>
                <c:pt idx="176">
                  <c:v>2176</c:v>
                </c:pt>
                <c:pt idx="177">
                  <c:v>2176</c:v>
                </c:pt>
                <c:pt idx="178">
                  <c:v>2176</c:v>
                </c:pt>
                <c:pt idx="179">
                  <c:v>2176</c:v>
                </c:pt>
                <c:pt idx="180">
                  <c:v>2176</c:v>
                </c:pt>
                <c:pt idx="181">
                  <c:v>2176</c:v>
                </c:pt>
                <c:pt idx="182">
                  <c:v>2176</c:v>
                </c:pt>
                <c:pt idx="183">
                  <c:v>3265</c:v>
                </c:pt>
                <c:pt idx="184">
                  <c:v>3265</c:v>
                </c:pt>
                <c:pt idx="185">
                  <c:v>3265</c:v>
                </c:pt>
                <c:pt idx="186">
                  <c:v>3265</c:v>
                </c:pt>
                <c:pt idx="187">
                  <c:v>3265</c:v>
                </c:pt>
                <c:pt idx="188">
                  <c:v>3265</c:v>
                </c:pt>
                <c:pt idx="189">
                  <c:v>3265</c:v>
                </c:pt>
                <c:pt idx="190">
                  <c:v>3265</c:v>
                </c:pt>
                <c:pt idx="191">
                  <c:v>3265</c:v>
                </c:pt>
                <c:pt idx="192">
                  <c:v>3265</c:v>
                </c:pt>
                <c:pt idx="193">
                  <c:v>3265</c:v>
                </c:pt>
                <c:pt idx="194">
                  <c:v>3265</c:v>
                </c:pt>
                <c:pt idx="195">
                  <c:v>3265</c:v>
                </c:pt>
                <c:pt idx="196">
                  <c:v>3265</c:v>
                </c:pt>
                <c:pt idx="197">
                  <c:v>3265</c:v>
                </c:pt>
                <c:pt idx="198">
                  <c:v>3265</c:v>
                </c:pt>
                <c:pt idx="199">
                  <c:v>3265</c:v>
                </c:pt>
                <c:pt idx="200">
                  <c:v>3265</c:v>
                </c:pt>
                <c:pt idx="201">
                  <c:v>3265</c:v>
                </c:pt>
                <c:pt idx="202">
                  <c:v>3265</c:v>
                </c:pt>
                <c:pt idx="203">
                  <c:v>3265</c:v>
                </c:pt>
                <c:pt idx="204">
                  <c:v>3265</c:v>
                </c:pt>
                <c:pt idx="205">
                  <c:v>3265</c:v>
                </c:pt>
                <c:pt idx="206">
                  <c:v>3265</c:v>
                </c:pt>
                <c:pt idx="207">
                  <c:v>3265</c:v>
                </c:pt>
                <c:pt idx="208">
                  <c:v>3265</c:v>
                </c:pt>
                <c:pt idx="209">
                  <c:v>3265</c:v>
                </c:pt>
                <c:pt idx="210">
                  <c:v>3265</c:v>
                </c:pt>
                <c:pt idx="211">
                  <c:v>3265</c:v>
                </c:pt>
                <c:pt idx="212">
                  <c:v>3265</c:v>
                </c:pt>
                <c:pt idx="213">
                  <c:v>3265</c:v>
                </c:pt>
                <c:pt idx="214">
                  <c:v>12515</c:v>
                </c:pt>
                <c:pt idx="215">
                  <c:v>12515</c:v>
                </c:pt>
                <c:pt idx="216">
                  <c:v>12515</c:v>
                </c:pt>
                <c:pt idx="217">
                  <c:v>12515</c:v>
                </c:pt>
                <c:pt idx="218">
                  <c:v>12515</c:v>
                </c:pt>
                <c:pt idx="219">
                  <c:v>12515</c:v>
                </c:pt>
                <c:pt idx="220">
                  <c:v>12515</c:v>
                </c:pt>
                <c:pt idx="221">
                  <c:v>12515</c:v>
                </c:pt>
                <c:pt idx="222">
                  <c:v>12515</c:v>
                </c:pt>
                <c:pt idx="223">
                  <c:v>12515</c:v>
                </c:pt>
                <c:pt idx="224">
                  <c:v>12515</c:v>
                </c:pt>
                <c:pt idx="225">
                  <c:v>12515</c:v>
                </c:pt>
                <c:pt idx="226">
                  <c:v>12515</c:v>
                </c:pt>
                <c:pt idx="227">
                  <c:v>12515</c:v>
                </c:pt>
                <c:pt idx="228">
                  <c:v>12515</c:v>
                </c:pt>
                <c:pt idx="229">
                  <c:v>12515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267-42C6-AC42-927B0F02AEC7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6 25-2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D$5:$D$249</c:f>
              <c:numCache>
                <c:formatCode>General</c:formatCode>
                <c:ptCount val="245"/>
                <c:pt idx="0">
                  <c:v>310</c:v>
                </c:pt>
                <c:pt idx="1">
                  <c:v>109</c:v>
                </c:pt>
                <c:pt idx="2">
                  <c:v>15</c:v>
                </c:pt>
                <c:pt idx="3">
                  <c:v>121</c:v>
                </c:pt>
                <c:pt idx="4">
                  <c:v>75</c:v>
                </c:pt>
                <c:pt idx="5">
                  <c:v>269</c:v>
                </c:pt>
                <c:pt idx="6">
                  <c:v>360</c:v>
                </c:pt>
                <c:pt idx="7">
                  <c:v>469</c:v>
                </c:pt>
                <c:pt idx="8">
                  <c:v>615</c:v>
                </c:pt>
                <c:pt idx="9">
                  <c:v>673</c:v>
                </c:pt>
                <c:pt idx="10">
                  <c:v>101</c:v>
                </c:pt>
                <c:pt idx="11">
                  <c:v>96</c:v>
                </c:pt>
                <c:pt idx="12">
                  <c:v>691</c:v>
                </c:pt>
                <c:pt idx="13">
                  <c:v>693</c:v>
                </c:pt>
                <c:pt idx="14">
                  <c:v>646</c:v>
                </c:pt>
                <c:pt idx="15">
                  <c:v>651</c:v>
                </c:pt>
                <c:pt idx="16">
                  <c:v>600</c:v>
                </c:pt>
                <c:pt idx="17">
                  <c:v>71</c:v>
                </c:pt>
                <c:pt idx="18">
                  <c:v>55</c:v>
                </c:pt>
                <c:pt idx="19">
                  <c:v>345</c:v>
                </c:pt>
                <c:pt idx="20">
                  <c:v>261</c:v>
                </c:pt>
                <c:pt idx="21">
                  <c:v>282</c:v>
                </c:pt>
                <c:pt idx="22">
                  <c:v>322</c:v>
                </c:pt>
                <c:pt idx="23">
                  <c:v>272</c:v>
                </c:pt>
                <c:pt idx="24">
                  <c:v>32</c:v>
                </c:pt>
                <c:pt idx="25">
                  <c:v>6</c:v>
                </c:pt>
                <c:pt idx="26">
                  <c:v>170</c:v>
                </c:pt>
                <c:pt idx="27">
                  <c:v>200</c:v>
                </c:pt>
                <c:pt idx="28">
                  <c:v>154</c:v>
                </c:pt>
                <c:pt idx="29">
                  <c:v>129</c:v>
                </c:pt>
                <c:pt idx="30">
                  <c:v>96</c:v>
                </c:pt>
                <c:pt idx="31">
                  <c:v>5</c:v>
                </c:pt>
                <c:pt idx="32">
                  <c:v>9</c:v>
                </c:pt>
                <c:pt idx="33">
                  <c:v>81</c:v>
                </c:pt>
                <c:pt idx="34">
                  <c:v>97</c:v>
                </c:pt>
                <c:pt idx="35">
                  <c:v>82</c:v>
                </c:pt>
                <c:pt idx="36">
                  <c:v>84</c:v>
                </c:pt>
                <c:pt idx="37">
                  <c:v>82</c:v>
                </c:pt>
                <c:pt idx="38">
                  <c:v>2</c:v>
                </c:pt>
                <c:pt idx="39">
                  <c:v>4</c:v>
                </c:pt>
                <c:pt idx="40">
                  <c:v>72</c:v>
                </c:pt>
                <c:pt idx="41">
                  <c:v>89</c:v>
                </c:pt>
                <c:pt idx="42">
                  <c:v>90</c:v>
                </c:pt>
                <c:pt idx="43">
                  <c:v>131</c:v>
                </c:pt>
                <c:pt idx="44">
                  <c:v>127</c:v>
                </c:pt>
                <c:pt idx="45">
                  <c:v>28</c:v>
                </c:pt>
                <c:pt idx="46">
                  <c:v>14</c:v>
                </c:pt>
                <c:pt idx="47">
                  <c:v>158</c:v>
                </c:pt>
                <c:pt idx="48">
                  <c:v>181</c:v>
                </c:pt>
                <c:pt idx="49">
                  <c:v>230</c:v>
                </c:pt>
                <c:pt idx="50">
                  <c:v>184</c:v>
                </c:pt>
                <c:pt idx="51">
                  <c:v>250</c:v>
                </c:pt>
                <c:pt idx="52">
                  <c:v>47</c:v>
                </c:pt>
                <c:pt idx="53">
                  <c:v>11</c:v>
                </c:pt>
                <c:pt idx="54">
                  <c:v>256</c:v>
                </c:pt>
                <c:pt idx="55">
                  <c:v>322</c:v>
                </c:pt>
                <c:pt idx="56">
                  <c:v>316</c:v>
                </c:pt>
                <c:pt idx="57">
                  <c:v>378</c:v>
                </c:pt>
                <c:pt idx="58">
                  <c:v>404</c:v>
                </c:pt>
                <c:pt idx="59">
                  <c:v>57</c:v>
                </c:pt>
                <c:pt idx="60">
                  <c:v>60</c:v>
                </c:pt>
                <c:pt idx="61">
                  <c:v>400</c:v>
                </c:pt>
                <c:pt idx="62">
                  <c:v>508</c:v>
                </c:pt>
                <c:pt idx="63">
                  <c:v>584</c:v>
                </c:pt>
                <c:pt idx="64">
                  <c:v>461</c:v>
                </c:pt>
                <c:pt idx="65">
                  <c:v>447</c:v>
                </c:pt>
                <c:pt idx="66">
                  <c:v>197</c:v>
                </c:pt>
                <c:pt idx="67">
                  <c:v>210</c:v>
                </c:pt>
                <c:pt idx="68">
                  <c:v>441</c:v>
                </c:pt>
                <c:pt idx="69">
                  <c:v>545</c:v>
                </c:pt>
                <c:pt idx="70">
                  <c:v>586</c:v>
                </c:pt>
                <c:pt idx="71">
                  <c:v>667</c:v>
                </c:pt>
                <c:pt idx="72">
                  <c:v>599</c:v>
                </c:pt>
                <c:pt idx="73">
                  <c:v>183</c:v>
                </c:pt>
                <c:pt idx="74">
                  <c:v>139</c:v>
                </c:pt>
                <c:pt idx="75">
                  <c:v>433</c:v>
                </c:pt>
                <c:pt idx="76">
                  <c:v>604</c:v>
                </c:pt>
                <c:pt idx="77">
                  <c:v>513</c:v>
                </c:pt>
                <c:pt idx="78">
                  <c:v>507</c:v>
                </c:pt>
                <c:pt idx="79">
                  <c:v>536</c:v>
                </c:pt>
                <c:pt idx="80">
                  <c:v>220</c:v>
                </c:pt>
                <c:pt idx="81">
                  <c:v>138</c:v>
                </c:pt>
                <c:pt idx="82">
                  <c:v>299</c:v>
                </c:pt>
                <c:pt idx="83">
                  <c:v>406</c:v>
                </c:pt>
                <c:pt idx="84">
                  <c:v>416</c:v>
                </c:pt>
                <c:pt idx="85">
                  <c:v>467</c:v>
                </c:pt>
                <c:pt idx="86">
                  <c:v>503</c:v>
                </c:pt>
                <c:pt idx="87">
                  <c:v>132</c:v>
                </c:pt>
                <c:pt idx="88">
                  <c:v>93</c:v>
                </c:pt>
                <c:pt idx="89">
                  <c:v>253</c:v>
                </c:pt>
                <c:pt idx="90">
                  <c:v>372</c:v>
                </c:pt>
                <c:pt idx="91">
                  <c:v>398</c:v>
                </c:pt>
                <c:pt idx="92">
                  <c:v>463</c:v>
                </c:pt>
                <c:pt idx="93">
                  <c:v>152</c:v>
                </c:pt>
                <c:pt idx="94">
                  <c:v>89</c:v>
                </c:pt>
                <c:pt idx="95">
                  <c:v>40</c:v>
                </c:pt>
                <c:pt idx="96">
                  <c:v>38</c:v>
                </c:pt>
                <c:pt idx="97">
                  <c:v>189</c:v>
                </c:pt>
                <c:pt idx="98">
                  <c:v>275</c:v>
                </c:pt>
                <c:pt idx="99">
                  <c:v>543</c:v>
                </c:pt>
                <c:pt idx="100">
                  <c:v>745</c:v>
                </c:pt>
                <c:pt idx="101">
                  <c:v>229</c:v>
                </c:pt>
                <c:pt idx="102">
                  <c:v>169</c:v>
                </c:pt>
                <c:pt idx="103">
                  <c:v>429</c:v>
                </c:pt>
                <c:pt idx="104">
                  <c:v>415</c:v>
                </c:pt>
                <c:pt idx="105">
                  <c:v>443</c:v>
                </c:pt>
                <c:pt idx="106">
                  <c:v>694</c:v>
                </c:pt>
                <c:pt idx="107">
                  <c:v>762</c:v>
                </c:pt>
                <c:pt idx="108">
                  <c:v>349</c:v>
                </c:pt>
                <c:pt idx="109">
                  <c:v>362</c:v>
                </c:pt>
                <c:pt idx="110">
                  <c:v>717</c:v>
                </c:pt>
                <c:pt idx="111">
                  <c:v>644</c:v>
                </c:pt>
                <c:pt idx="112">
                  <c:v>619</c:v>
                </c:pt>
                <c:pt idx="113">
                  <c:v>776</c:v>
                </c:pt>
                <c:pt idx="114">
                  <c:v>1055</c:v>
                </c:pt>
                <c:pt idx="115">
                  <c:v>404</c:v>
                </c:pt>
                <c:pt idx="116">
                  <c:v>236</c:v>
                </c:pt>
                <c:pt idx="117">
                  <c:v>623</c:v>
                </c:pt>
                <c:pt idx="118">
                  <c:v>507</c:v>
                </c:pt>
                <c:pt idx="119">
                  <c:v>595</c:v>
                </c:pt>
                <c:pt idx="120">
                  <c:v>590</c:v>
                </c:pt>
                <c:pt idx="121">
                  <c:v>804</c:v>
                </c:pt>
                <c:pt idx="122">
                  <c:v>211</c:v>
                </c:pt>
                <c:pt idx="123">
                  <c:v>201</c:v>
                </c:pt>
                <c:pt idx="124">
                  <c:v>584</c:v>
                </c:pt>
                <c:pt idx="125">
                  <c:v>658</c:v>
                </c:pt>
                <c:pt idx="126">
                  <c:v>743</c:v>
                </c:pt>
                <c:pt idx="127">
                  <c:v>856</c:v>
                </c:pt>
                <c:pt idx="128">
                  <c:v>1054</c:v>
                </c:pt>
                <c:pt idx="129">
                  <c:v>442</c:v>
                </c:pt>
                <c:pt idx="130">
                  <c:v>348</c:v>
                </c:pt>
                <c:pt idx="131">
                  <c:v>870</c:v>
                </c:pt>
                <c:pt idx="132">
                  <c:v>873</c:v>
                </c:pt>
                <c:pt idx="133">
                  <c:v>848</c:v>
                </c:pt>
                <c:pt idx="134">
                  <c:v>1005</c:v>
                </c:pt>
                <c:pt idx="135">
                  <c:v>921</c:v>
                </c:pt>
                <c:pt idx="136">
                  <c:v>445</c:v>
                </c:pt>
                <c:pt idx="137">
                  <c:v>310</c:v>
                </c:pt>
                <c:pt idx="138">
                  <c:v>722</c:v>
                </c:pt>
                <c:pt idx="139">
                  <c:v>762</c:v>
                </c:pt>
                <c:pt idx="140">
                  <c:v>708</c:v>
                </c:pt>
                <c:pt idx="141">
                  <c:v>764</c:v>
                </c:pt>
                <c:pt idx="142">
                  <c:v>818</c:v>
                </c:pt>
                <c:pt idx="143">
                  <c:v>285</c:v>
                </c:pt>
                <c:pt idx="144">
                  <c:v>253</c:v>
                </c:pt>
                <c:pt idx="145">
                  <c:v>585</c:v>
                </c:pt>
                <c:pt idx="146">
                  <c:v>588</c:v>
                </c:pt>
                <c:pt idx="147">
                  <c:v>823</c:v>
                </c:pt>
                <c:pt idx="148">
                  <c:v>734</c:v>
                </c:pt>
                <c:pt idx="149">
                  <c:v>859</c:v>
                </c:pt>
                <c:pt idx="150">
                  <c:v>335</c:v>
                </c:pt>
                <c:pt idx="151">
                  <c:v>177</c:v>
                </c:pt>
                <c:pt idx="152">
                  <c:v>735</c:v>
                </c:pt>
                <c:pt idx="153">
                  <c:v>1002</c:v>
                </c:pt>
                <c:pt idx="154">
                  <c:v>977</c:v>
                </c:pt>
                <c:pt idx="155">
                  <c:v>1058</c:v>
                </c:pt>
                <c:pt idx="156">
                  <c:v>1946</c:v>
                </c:pt>
                <c:pt idx="157">
                  <c:v>1462</c:v>
                </c:pt>
                <c:pt idx="158">
                  <c:v>1507</c:v>
                </c:pt>
                <c:pt idx="159">
                  <c:v>3952</c:v>
                </c:pt>
                <c:pt idx="160">
                  <c:v>5048</c:v>
                </c:pt>
                <c:pt idx="161">
                  <c:v>4646</c:v>
                </c:pt>
                <c:pt idx="162">
                  <c:v>2474</c:v>
                </c:pt>
                <c:pt idx="163">
                  <c:v>2474</c:v>
                </c:pt>
                <c:pt idx="164">
                  <c:v>2474</c:v>
                </c:pt>
                <c:pt idx="165">
                  <c:v>2474</c:v>
                </c:pt>
                <c:pt idx="166">
                  <c:v>2474</c:v>
                </c:pt>
                <c:pt idx="167">
                  <c:v>2474</c:v>
                </c:pt>
                <c:pt idx="168">
                  <c:v>2474</c:v>
                </c:pt>
                <c:pt idx="169">
                  <c:v>2474</c:v>
                </c:pt>
                <c:pt idx="170">
                  <c:v>2474</c:v>
                </c:pt>
                <c:pt idx="171">
                  <c:v>2474</c:v>
                </c:pt>
                <c:pt idx="172">
                  <c:v>2474</c:v>
                </c:pt>
                <c:pt idx="173">
                  <c:v>2474</c:v>
                </c:pt>
                <c:pt idx="174">
                  <c:v>2474</c:v>
                </c:pt>
                <c:pt idx="175">
                  <c:v>2474</c:v>
                </c:pt>
                <c:pt idx="176">
                  <c:v>2474</c:v>
                </c:pt>
                <c:pt idx="177">
                  <c:v>2474</c:v>
                </c:pt>
                <c:pt idx="178">
                  <c:v>2474</c:v>
                </c:pt>
                <c:pt idx="179">
                  <c:v>2474</c:v>
                </c:pt>
                <c:pt idx="180">
                  <c:v>2474</c:v>
                </c:pt>
                <c:pt idx="181">
                  <c:v>2474</c:v>
                </c:pt>
                <c:pt idx="182">
                  <c:v>2474</c:v>
                </c:pt>
                <c:pt idx="183">
                  <c:v>3712</c:v>
                </c:pt>
                <c:pt idx="184">
                  <c:v>3712</c:v>
                </c:pt>
                <c:pt idx="185">
                  <c:v>3712</c:v>
                </c:pt>
                <c:pt idx="186">
                  <c:v>3712</c:v>
                </c:pt>
                <c:pt idx="187">
                  <c:v>3712</c:v>
                </c:pt>
                <c:pt idx="188">
                  <c:v>3712</c:v>
                </c:pt>
                <c:pt idx="189">
                  <c:v>3712</c:v>
                </c:pt>
                <c:pt idx="190">
                  <c:v>3712</c:v>
                </c:pt>
                <c:pt idx="191">
                  <c:v>3712</c:v>
                </c:pt>
                <c:pt idx="192">
                  <c:v>3712</c:v>
                </c:pt>
                <c:pt idx="193">
                  <c:v>3712</c:v>
                </c:pt>
                <c:pt idx="194">
                  <c:v>3712</c:v>
                </c:pt>
                <c:pt idx="195">
                  <c:v>3712</c:v>
                </c:pt>
                <c:pt idx="196">
                  <c:v>3712</c:v>
                </c:pt>
                <c:pt idx="197">
                  <c:v>3712</c:v>
                </c:pt>
                <c:pt idx="198">
                  <c:v>3712</c:v>
                </c:pt>
                <c:pt idx="199">
                  <c:v>3712</c:v>
                </c:pt>
                <c:pt idx="200">
                  <c:v>3712</c:v>
                </c:pt>
                <c:pt idx="201">
                  <c:v>3712</c:v>
                </c:pt>
                <c:pt idx="202">
                  <c:v>3712</c:v>
                </c:pt>
                <c:pt idx="203">
                  <c:v>3712</c:v>
                </c:pt>
                <c:pt idx="204">
                  <c:v>3712</c:v>
                </c:pt>
                <c:pt idx="205">
                  <c:v>3712</c:v>
                </c:pt>
                <c:pt idx="206">
                  <c:v>3712</c:v>
                </c:pt>
                <c:pt idx="207">
                  <c:v>3712</c:v>
                </c:pt>
                <c:pt idx="208">
                  <c:v>3712</c:v>
                </c:pt>
                <c:pt idx="209">
                  <c:v>3712</c:v>
                </c:pt>
                <c:pt idx="210">
                  <c:v>3712</c:v>
                </c:pt>
                <c:pt idx="211">
                  <c:v>3712</c:v>
                </c:pt>
                <c:pt idx="212">
                  <c:v>3712</c:v>
                </c:pt>
                <c:pt idx="213">
                  <c:v>3712</c:v>
                </c:pt>
                <c:pt idx="214">
                  <c:v>14230</c:v>
                </c:pt>
                <c:pt idx="215">
                  <c:v>14230</c:v>
                </c:pt>
                <c:pt idx="216">
                  <c:v>14230</c:v>
                </c:pt>
                <c:pt idx="217">
                  <c:v>14230</c:v>
                </c:pt>
                <c:pt idx="218">
                  <c:v>14230</c:v>
                </c:pt>
                <c:pt idx="219">
                  <c:v>14230</c:v>
                </c:pt>
                <c:pt idx="220">
                  <c:v>14230</c:v>
                </c:pt>
                <c:pt idx="221">
                  <c:v>14230</c:v>
                </c:pt>
                <c:pt idx="222">
                  <c:v>14230</c:v>
                </c:pt>
                <c:pt idx="223">
                  <c:v>14230</c:v>
                </c:pt>
                <c:pt idx="224">
                  <c:v>14230</c:v>
                </c:pt>
                <c:pt idx="225">
                  <c:v>14230</c:v>
                </c:pt>
                <c:pt idx="226">
                  <c:v>14230</c:v>
                </c:pt>
                <c:pt idx="227">
                  <c:v>14230</c:v>
                </c:pt>
                <c:pt idx="228">
                  <c:v>14230</c:v>
                </c:pt>
                <c:pt idx="229">
                  <c:v>14230</c:v>
                </c:pt>
                <c:pt idx="230">
                  <c:v>14230</c:v>
                </c:pt>
                <c:pt idx="231">
                  <c:v>14230</c:v>
                </c:pt>
                <c:pt idx="232">
                  <c:v>14230</c:v>
                </c:pt>
                <c:pt idx="233">
                  <c:v>14230</c:v>
                </c:pt>
                <c:pt idx="234">
                  <c:v>1423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267-42C6-AC42-927B0F02AEC7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7 30-3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E$5:$E$249</c:f>
              <c:numCache>
                <c:formatCode>General</c:formatCode>
                <c:ptCount val="245"/>
                <c:pt idx="0">
                  <c:v>258</c:v>
                </c:pt>
                <c:pt idx="1">
                  <c:v>109</c:v>
                </c:pt>
                <c:pt idx="2">
                  <c:v>17</c:v>
                </c:pt>
                <c:pt idx="3">
                  <c:v>103</c:v>
                </c:pt>
                <c:pt idx="4">
                  <c:v>85</c:v>
                </c:pt>
                <c:pt idx="5">
                  <c:v>288</c:v>
                </c:pt>
                <c:pt idx="6">
                  <c:v>365</c:v>
                </c:pt>
                <c:pt idx="7">
                  <c:v>439</c:v>
                </c:pt>
                <c:pt idx="8">
                  <c:v>565</c:v>
                </c:pt>
                <c:pt idx="9">
                  <c:v>663</c:v>
                </c:pt>
                <c:pt idx="10">
                  <c:v>110</c:v>
                </c:pt>
                <c:pt idx="11">
                  <c:v>110</c:v>
                </c:pt>
                <c:pt idx="12">
                  <c:v>664</c:v>
                </c:pt>
                <c:pt idx="13">
                  <c:v>829</c:v>
                </c:pt>
                <c:pt idx="14">
                  <c:v>764</c:v>
                </c:pt>
                <c:pt idx="15">
                  <c:v>775</c:v>
                </c:pt>
                <c:pt idx="16">
                  <c:v>705</c:v>
                </c:pt>
                <c:pt idx="17">
                  <c:v>87</c:v>
                </c:pt>
                <c:pt idx="18">
                  <c:v>52</c:v>
                </c:pt>
                <c:pt idx="19">
                  <c:v>437</c:v>
                </c:pt>
                <c:pt idx="20">
                  <c:v>368</c:v>
                </c:pt>
                <c:pt idx="21">
                  <c:v>339</c:v>
                </c:pt>
                <c:pt idx="22">
                  <c:v>345</c:v>
                </c:pt>
                <c:pt idx="23">
                  <c:v>313</c:v>
                </c:pt>
                <c:pt idx="24">
                  <c:v>40</c:v>
                </c:pt>
                <c:pt idx="25">
                  <c:v>11</c:v>
                </c:pt>
                <c:pt idx="26">
                  <c:v>210</c:v>
                </c:pt>
                <c:pt idx="27">
                  <c:v>182</c:v>
                </c:pt>
                <c:pt idx="28">
                  <c:v>194</c:v>
                </c:pt>
                <c:pt idx="29">
                  <c:v>148</c:v>
                </c:pt>
                <c:pt idx="30">
                  <c:v>96</c:v>
                </c:pt>
                <c:pt idx="31">
                  <c:v>8</c:v>
                </c:pt>
                <c:pt idx="32">
                  <c:v>4</c:v>
                </c:pt>
                <c:pt idx="33">
                  <c:v>103</c:v>
                </c:pt>
                <c:pt idx="34">
                  <c:v>86</c:v>
                </c:pt>
                <c:pt idx="35">
                  <c:v>107</c:v>
                </c:pt>
                <c:pt idx="36">
                  <c:v>82</c:v>
                </c:pt>
                <c:pt idx="37">
                  <c:v>103</c:v>
                </c:pt>
                <c:pt idx="38">
                  <c:v>2</c:v>
                </c:pt>
                <c:pt idx="39">
                  <c:v>2</c:v>
                </c:pt>
                <c:pt idx="40">
                  <c:v>89</c:v>
                </c:pt>
                <c:pt idx="41">
                  <c:v>107</c:v>
                </c:pt>
                <c:pt idx="42">
                  <c:v>132</c:v>
                </c:pt>
                <c:pt idx="43">
                  <c:v>155</c:v>
                </c:pt>
                <c:pt idx="44">
                  <c:v>140</c:v>
                </c:pt>
                <c:pt idx="45">
                  <c:v>31</c:v>
                </c:pt>
                <c:pt idx="46">
                  <c:v>12</c:v>
                </c:pt>
                <c:pt idx="47">
                  <c:v>169</c:v>
                </c:pt>
                <c:pt idx="48">
                  <c:v>173</c:v>
                </c:pt>
                <c:pt idx="49">
                  <c:v>232</c:v>
                </c:pt>
                <c:pt idx="50">
                  <c:v>241</c:v>
                </c:pt>
                <c:pt idx="51">
                  <c:v>276</c:v>
                </c:pt>
                <c:pt idx="52">
                  <c:v>53</c:v>
                </c:pt>
                <c:pt idx="53">
                  <c:v>20</c:v>
                </c:pt>
                <c:pt idx="54">
                  <c:v>266</c:v>
                </c:pt>
                <c:pt idx="55">
                  <c:v>361</c:v>
                </c:pt>
                <c:pt idx="56">
                  <c:v>425</c:v>
                </c:pt>
                <c:pt idx="57">
                  <c:v>472</c:v>
                </c:pt>
                <c:pt idx="58">
                  <c:v>436</c:v>
                </c:pt>
                <c:pt idx="59">
                  <c:v>69</c:v>
                </c:pt>
                <c:pt idx="60">
                  <c:v>71</c:v>
                </c:pt>
                <c:pt idx="61">
                  <c:v>505</c:v>
                </c:pt>
                <c:pt idx="62">
                  <c:v>613</c:v>
                </c:pt>
                <c:pt idx="63">
                  <c:v>643</c:v>
                </c:pt>
                <c:pt idx="64">
                  <c:v>508</c:v>
                </c:pt>
                <c:pt idx="65">
                  <c:v>585</c:v>
                </c:pt>
                <c:pt idx="66">
                  <c:v>233</c:v>
                </c:pt>
                <c:pt idx="67">
                  <c:v>214</c:v>
                </c:pt>
                <c:pt idx="68">
                  <c:v>535</c:v>
                </c:pt>
                <c:pt idx="69">
                  <c:v>629</c:v>
                </c:pt>
                <c:pt idx="70">
                  <c:v>664</c:v>
                </c:pt>
                <c:pt idx="71">
                  <c:v>826</c:v>
                </c:pt>
                <c:pt idx="72">
                  <c:v>650</c:v>
                </c:pt>
                <c:pt idx="73">
                  <c:v>206</c:v>
                </c:pt>
                <c:pt idx="74">
                  <c:v>163</c:v>
                </c:pt>
                <c:pt idx="75">
                  <c:v>462</c:v>
                </c:pt>
                <c:pt idx="76">
                  <c:v>724</c:v>
                </c:pt>
                <c:pt idx="77">
                  <c:v>607</c:v>
                </c:pt>
                <c:pt idx="78">
                  <c:v>551</c:v>
                </c:pt>
                <c:pt idx="79">
                  <c:v>573</c:v>
                </c:pt>
                <c:pt idx="80">
                  <c:v>264</c:v>
                </c:pt>
                <c:pt idx="81">
                  <c:v>140</c:v>
                </c:pt>
                <c:pt idx="82">
                  <c:v>361</c:v>
                </c:pt>
                <c:pt idx="83">
                  <c:v>448</c:v>
                </c:pt>
                <c:pt idx="84">
                  <c:v>510</c:v>
                </c:pt>
                <c:pt idx="85">
                  <c:v>504</c:v>
                </c:pt>
                <c:pt idx="86">
                  <c:v>617</c:v>
                </c:pt>
                <c:pt idx="87">
                  <c:v>155</c:v>
                </c:pt>
                <c:pt idx="88">
                  <c:v>127</c:v>
                </c:pt>
                <c:pt idx="89">
                  <c:v>339</c:v>
                </c:pt>
                <c:pt idx="90">
                  <c:v>435</c:v>
                </c:pt>
                <c:pt idx="91">
                  <c:v>474</c:v>
                </c:pt>
                <c:pt idx="92">
                  <c:v>563</c:v>
                </c:pt>
                <c:pt idx="93">
                  <c:v>160</c:v>
                </c:pt>
                <c:pt idx="94">
                  <c:v>98</c:v>
                </c:pt>
                <c:pt idx="95">
                  <c:v>41</c:v>
                </c:pt>
                <c:pt idx="96">
                  <c:v>48</c:v>
                </c:pt>
                <c:pt idx="97">
                  <c:v>251</c:v>
                </c:pt>
                <c:pt idx="98">
                  <c:v>418</c:v>
                </c:pt>
                <c:pt idx="99">
                  <c:v>657</c:v>
                </c:pt>
                <c:pt idx="100">
                  <c:v>991</c:v>
                </c:pt>
                <c:pt idx="101">
                  <c:v>307</c:v>
                </c:pt>
                <c:pt idx="102">
                  <c:v>172</c:v>
                </c:pt>
                <c:pt idx="103">
                  <c:v>556</c:v>
                </c:pt>
                <c:pt idx="104">
                  <c:v>570</c:v>
                </c:pt>
                <c:pt idx="105">
                  <c:v>585</c:v>
                </c:pt>
                <c:pt idx="106">
                  <c:v>890</c:v>
                </c:pt>
                <c:pt idx="107">
                  <c:v>998</c:v>
                </c:pt>
                <c:pt idx="108">
                  <c:v>410</c:v>
                </c:pt>
                <c:pt idx="109">
                  <c:v>390</c:v>
                </c:pt>
                <c:pt idx="110">
                  <c:v>893</c:v>
                </c:pt>
                <c:pt idx="111">
                  <c:v>786</c:v>
                </c:pt>
                <c:pt idx="112">
                  <c:v>891</c:v>
                </c:pt>
                <c:pt idx="113">
                  <c:v>919</c:v>
                </c:pt>
                <c:pt idx="114">
                  <c:v>1357</c:v>
                </c:pt>
                <c:pt idx="115">
                  <c:v>394</c:v>
                </c:pt>
                <c:pt idx="116">
                  <c:v>349</c:v>
                </c:pt>
                <c:pt idx="117">
                  <c:v>743</c:v>
                </c:pt>
                <c:pt idx="118">
                  <c:v>659</c:v>
                </c:pt>
                <c:pt idx="119">
                  <c:v>767</c:v>
                </c:pt>
                <c:pt idx="120">
                  <c:v>795</c:v>
                </c:pt>
                <c:pt idx="121">
                  <c:v>1018</c:v>
                </c:pt>
                <c:pt idx="122">
                  <c:v>265</c:v>
                </c:pt>
                <c:pt idx="123">
                  <c:v>262</c:v>
                </c:pt>
                <c:pt idx="124">
                  <c:v>842</c:v>
                </c:pt>
                <c:pt idx="125">
                  <c:v>892</c:v>
                </c:pt>
                <c:pt idx="126">
                  <c:v>1074</c:v>
                </c:pt>
                <c:pt idx="127">
                  <c:v>1207</c:v>
                </c:pt>
                <c:pt idx="128">
                  <c:v>1467</c:v>
                </c:pt>
                <c:pt idx="129">
                  <c:v>597</c:v>
                </c:pt>
                <c:pt idx="130">
                  <c:v>467</c:v>
                </c:pt>
                <c:pt idx="131">
                  <c:v>1142</c:v>
                </c:pt>
                <c:pt idx="132">
                  <c:v>1233</c:v>
                </c:pt>
                <c:pt idx="133">
                  <c:v>1121</c:v>
                </c:pt>
                <c:pt idx="134">
                  <c:v>1168</c:v>
                </c:pt>
                <c:pt idx="135">
                  <c:v>1169</c:v>
                </c:pt>
                <c:pt idx="136">
                  <c:v>490</c:v>
                </c:pt>
                <c:pt idx="137">
                  <c:v>372</c:v>
                </c:pt>
                <c:pt idx="138">
                  <c:v>850</c:v>
                </c:pt>
                <c:pt idx="139">
                  <c:v>922</c:v>
                </c:pt>
                <c:pt idx="140">
                  <c:v>944</c:v>
                </c:pt>
                <c:pt idx="141">
                  <c:v>953</c:v>
                </c:pt>
                <c:pt idx="142">
                  <c:v>1000</c:v>
                </c:pt>
                <c:pt idx="143">
                  <c:v>361</c:v>
                </c:pt>
                <c:pt idx="144">
                  <c:v>245</c:v>
                </c:pt>
                <c:pt idx="145">
                  <c:v>745</c:v>
                </c:pt>
                <c:pt idx="146">
                  <c:v>716</c:v>
                </c:pt>
                <c:pt idx="147">
                  <c:v>1391</c:v>
                </c:pt>
                <c:pt idx="148">
                  <c:v>2289</c:v>
                </c:pt>
                <c:pt idx="149">
                  <c:v>3217</c:v>
                </c:pt>
                <c:pt idx="150">
                  <c:v>2208</c:v>
                </c:pt>
                <c:pt idx="151">
                  <c:v>1296</c:v>
                </c:pt>
                <c:pt idx="152">
                  <c:v>5314</c:v>
                </c:pt>
                <c:pt idx="153">
                  <c:v>6612</c:v>
                </c:pt>
                <c:pt idx="154">
                  <c:v>8219</c:v>
                </c:pt>
                <c:pt idx="155">
                  <c:v>9285</c:v>
                </c:pt>
                <c:pt idx="156">
                  <c:v>9463</c:v>
                </c:pt>
                <c:pt idx="157">
                  <c:v>6176</c:v>
                </c:pt>
                <c:pt idx="158">
                  <c:v>7553</c:v>
                </c:pt>
                <c:pt idx="159">
                  <c:v>12510</c:v>
                </c:pt>
                <c:pt idx="160">
                  <c:v>13386</c:v>
                </c:pt>
                <c:pt idx="161">
                  <c:v>10037</c:v>
                </c:pt>
                <c:pt idx="162">
                  <c:v>7399</c:v>
                </c:pt>
                <c:pt idx="163">
                  <c:v>7399</c:v>
                </c:pt>
                <c:pt idx="164">
                  <c:v>7399</c:v>
                </c:pt>
                <c:pt idx="165">
                  <c:v>7399</c:v>
                </c:pt>
                <c:pt idx="166">
                  <c:v>7399</c:v>
                </c:pt>
                <c:pt idx="167">
                  <c:v>7399</c:v>
                </c:pt>
                <c:pt idx="168">
                  <c:v>7399</c:v>
                </c:pt>
                <c:pt idx="169">
                  <c:v>7399</c:v>
                </c:pt>
                <c:pt idx="170">
                  <c:v>7399</c:v>
                </c:pt>
                <c:pt idx="171">
                  <c:v>7399</c:v>
                </c:pt>
                <c:pt idx="172">
                  <c:v>7399</c:v>
                </c:pt>
                <c:pt idx="173">
                  <c:v>7399</c:v>
                </c:pt>
                <c:pt idx="174">
                  <c:v>7399</c:v>
                </c:pt>
                <c:pt idx="175">
                  <c:v>7399</c:v>
                </c:pt>
                <c:pt idx="176">
                  <c:v>7399</c:v>
                </c:pt>
                <c:pt idx="177">
                  <c:v>7399</c:v>
                </c:pt>
                <c:pt idx="178">
                  <c:v>7399</c:v>
                </c:pt>
                <c:pt idx="179">
                  <c:v>7399</c:v>
                </c:pt>
                <c:pt idx="180">
                  <c:v>7399</c:v>
                </c:pt>
                <c:pt idx="181">
                  <c:v>7399</c:v>
                </c:pt>
                <c:pt idx="182">
                  <c:v>7399</c:v>
                </c:pt>
                <c:pt idx="183" formatCode="#,##0">
                  <c:v>11099</c:v>
                </c:pt>
                <c:pt idx="184" formatCode="#,##0">
                  <c:v>11099</c:v>
                </c:pt>
                <c:pt idx="185" formatCode="#,##0">
                  <c:v>11099</c:v>
                </c:pt>
                <c:pt idx="186" formatCode="#,##0">
                  <c:v>11099</c:v>
                </c:pt>
                <c:pt idx="187" formatCode="#,##0">
                  <c:v>11099</c:v>
                </c:pt>
                <c:pt idx="188" formatCode="#,##0">
                  <c:v>11099</c:v>
                </c:pt>
                <c:pt idx="189" formatCode="#,##0">
                  <c:v>11099</c:v>
                </c:pt>
                <c:pt idx="190" formatCode="#,##0">
                  <c:v>11099</c:v>
                </c:pt>
                <c:pt idx="191" formatCode="#,##0">
                  <c:v>11099</c:v>
                </c:pt>
                <c:pt idx="192" formatCode="#,##0">
                  <c:v>11099</c:v>
                </c:pt>
                <c:pt idx="193" formatCode="#,##0">
                  <c:v>11099</c:v>
                </c:pt>
                <c:pt idx="194" formatCode="#,##0">
                  <c:v>11099</c:v>
                </c:pt>
                <c:pt idx="195" formatCode="#,##0">
                  <c:v>11099</c:v>
                </c:pt>
                <c:pt idx="196" formatCode="#,##0">
                  <c:v>11099</c:v>
                </c:pt>
                <c:pt idx="197" formatCode="#,##0">
                  <c:v>11099</c:v>
                </c:pt>
                <c:pt idx="198" formatCode="#,##0">
                  <c:v>11099</c:v>
                </c:pt>
                <c:pt idx="199" formatCode="#,##0">
                  <c:v>11099</c:v>
                </c:pt>
                <c:pt idx="200" formatCode="#,##0">
                  <c:v>11099</c:v>
                </c:pt>
                <c:pt idx="201" formatCode="#,##0">
                  <c:v>11099</c:v>
                </c:pt>
                <c:pt idx="202" formatCode="#,##0">
                  <c:v>11099</c:v>
                </c:pt>
                <c:pt idx="203" formatCode="#,##0">
                  <c:v>11099</c:v>
                </c:pt>
                <c:pt idx="204" formatCode="#,##0">
                  <c:v>11099</c:v>
                </c:pt>
                <c:pt idx="205" formatCode="#,##0">
                  <c:v>11099</c:v>
                </c:pt>
                <c:pt idx="206" formatCode="#,##0">
                  <c:v>11099</c:v>
                </c:pt>
                <c:pt idx="207" formatCode="#,##0">
                  <c:v>0</c:v>
                </c:pt>
                <c:pt idx="208" formatCode="#,##0">
                  <c:v>0</c:v>
                </c:pt>
                <c:pt idx="209" formatCode="#,##0">
                  <c:v>0</c:v>
                </c:pt>
                <c:pt idx="210" formatCode="#,##0">
                  <c:v>0</c:v>
                </c:pt>
                <c:pt idx="211" formatCode="#,##0">
                  <c:v>0</c:v>
                </c:pt>
                <c:pt idx="212" formatCode="#,##0">
                  <c:v>0</c:v>
                </c:pt>
                <c:pt idx="213" formatCode="#,##0">
                  <c:v>0</c:v>
                </c:pt>
                <c:pt idx="214" formatCode="#,##0">
                  <c:v>0</c:v>
                </c:pt>
                <c:pt idx="215" formatCode="#,##0">
                  <c:v>0</c:v>
                </c:pt>
                <c:pt idx="216" formatCode="#,##0">
                  <c:v>0</c:v>
                </c:pt>
                <c:pt idx="217" formatCode="#,##0">
                  <c:v>0</c:v>
                </c:pt>
                <c:pt idx="218" formatCode="#,##0">
                  <c:v>0</c:v>
                </c:pt>
                <c:pt idx="219" formatCode="#,##0">
                  <c:v>0</c:v>
                </c:pt>
                <c:pt idx="220" formatCode="#,##0">
                  <c:v>0</c:v>
                </c:pt>
                <c:pt idx="221" formatCode="#,##0">
                  <c:v>0</c:v>
                </c:pt>
                <c:pt idx="222" formatCode="#,##0">
                  <c:v>0</c:v>
                </c:pt>
                <c:pt idx="223" formatCode="#,##0">
                  <c:v>0</c:v>
                </c:pt>
                <c:pt idx="224" formatCode="#,##0">
                  <c:v>0</c:v>
                </c:pt>
                <c:pt idx="225" formatCode="#,##0">
                  <c:v>0</c:v>
                </c:pt>
                <c:pt idx="226" formatCode="#,##0">
                  <c:v>0</c:v>
                </c:pt>
                <c:pt idx="227" formatCode="#,##0">
                  <c:v>0</c:v>
                </c:pt>
                <c:pt idx="228" formatCode="#,##0">
                  <c:v>0</c:v>
                </c:pt>
                <c:pt idx="229" formatCode="#,##0">
                  <c:v>0</c:v>
                </c:pt>
                <c:pt idx="230" formatCode="#,##0">
                  <c:v>0</c:v>
                </c:pt>
                <c:pt idx="231" formatCode="#,##0">
                  <c:v>0</c:v>
                </c:pt>
                <c:pt idx="232" formatCode="#,##0">
                  <c:v>0</c:v>
                </c:pt>
                <c:pt idx="233" formatCode="#,##0">
                  <c:v>0</c:v>
                </c:pt>
                <c:pt idx="234" formatCode="#,##0">
                  <c:v>0</c:v>
                </c:pt>
                <c:pt idx="235" formatCode="#,##0">
                  <c:v>0</c:v>
                </c:pt>
                <c:pt idx="236" formatCode="#,##0">
                  <c:v>0</c:v>
                </c:pt>
                <c:pt idx="237" formatCode="#,##0">
                  <c:v>0</c:v>
                </c:pt>
                <c:pt idx="238" formatCode="#,##0">
                  <c:v>0</c:v>
                </c:pt>
                <c:pt idx="239" formatCode="#,##0">
                  <c:v>0</c:v>
                </c:pt>
                <c:pt idx="240" formatCode="#,##0">
                  <c:v>0</c:v>
                </c:pt>
                <c:pt idx="241" formatCode="#,##0">
                  <c:v>0</c:v>
                </c:pt>
                <c:pt idx="242" formatCode="#,##0">
                  <c:v>0</c:v>
                </c:pt>
                <c:pt idx="243" formatCode="#,##0">
                  <c:v>0</c:v>
                </c:pt>
                <c:pt idx="244" formatCode="#,##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F267-42C6-AC42-927B0F02AEC7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8 35-39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F$5:$F$249</c:f>
              <c:numCache>
                <c:formatCode>General</c:formatCode>
                <c:ptCount val="245"/>
                <c:pt idx="0">
                  <c:v>315</c:v>
                </c:pt>
                <c:pt idx="1">
                  <c:v>115</c:v>
                </c:pt>
                <c:pt idx="2">
                  <c:v>28</c:v>
                </c:pt>
                <c:pt idx="3">
                  <c:v>131</c:v>
                </c:pt>
                <c:pt idx="4">
                  <c:v>91</c:v>
                </c:pt>
                <c:pt idx="5">
                  <c:v>351</c:v>
                </c:pt>
                <c:pt idx="6">
                  <c:v>463</c:v>
                </c:pt>
                <c:pt idx="7">
                  <c:v>566</c:v>
                </c:pt>
                <c:pt idx="8">
                  <c:v>717</c:v>
                </c:pt>
                <c:pt idx="9">
                  <c:v>860</c:v>
                </c:pt>
                <c:pt idx="10">
                  <c:v>176</c:v>
                </c:pt>
                <c:pt idx="11">
                  <c:v>154</c:v>
                </c:pt>
                <c:pt idx="12">
                  <c:v>872</c:v>
                </c:pt>
                <c:pt idx="13">
                  <c:v>1132</c:v>
                </c:pt>
                <c:pt idx="14">
                  <c:v>1115</c:v>
                </c:pt>
                <c:pt idx="15">
                  <c:v>1123</c:v>
                </c:pt>
                <c:pt idx="16">
                  <c:v>944</c:v>
                </c:pt>
                <c:pt idx="17">
                  <c:v>119</c:v>
                </c:pt>
                <c:pt idx="18">
                  <c:v>67</c:v>
                </c:pt>
                <c:pt idx="19">
                  <c:v>644</c:v>
                </c:pt>
                <c:pt idx="20">
                  <c:v>504</c:v>
                </c:pt>
                <c:pt idx="21">
                  <c:v>538</c:v>
                </c:pt>
                <c:pt idx="22">
                  <c:v>540</c:v>
                </c:pt>
                <c:pt idx="23">
                  <c:v>409</c:v>
                </c:pt>
                <c:pt idx="24">
                  <c:v>48</c:v>
                </c:pt>
                <c:pt idx="25">
                  <c:v>28</c:v>
                </c:pt>
                <c:pt idx="26">
                  <c:v>276</c:v>
                </c:pt>
                <c:pt idx="27">
                  <c:v>283</c:v>
                </c:pt>
                <c:pt idx="28">
                  <c:v>280</c:v>
                </c:pt>
                <c:pt idx="29">
                  <c:v>246</c:v>
                </c:pt>
                <c:pt idx="30">
                  <c:v>145</c:v>
                </c:pt>
                <c:pt idx="31">
                  <c:v>6</c:v>
                </c:pt>
                <c:pt idx="32">
                  <c:v>7</c:v>
                </c:pt>
                <c:pt idx="33">
                  <c:v>120</c:v>
                </c:pt>
                <c:pt idx="34">
                  <c:v>131</c:v>
                </c:pt>
                <c:pt idx="35">
                  <c:v>121</c:v>
                </c:pt>
                <c:pt idx="36">
                  <c:v>129</c:v>
                </c:pt>
                <c:pt idx="37">
                  <c:v>128</c:v>
                </c:pt>
                <c:pt idx="38">
                  <c:v>4</c:v>
                </c:pt>
                <c:pt idx="39">
                  <c:v>8</c:v>
                </c:pt>
                <c:pt idx="40">
                  <c:v>107</c:v>
                </c:pt>
                <c:pt idx="41">
                  <c:v>139</c:v>
                </c:pt>
                <c:pt idx="42">
                  <c:v>208</c:v>
                </c:pt>
                <c:pt idx="43">
                  <c:v>226</c:v>
                </c:pt>
                <c:pt idx="44">
                  <c:v>184</c:v>
                </c:pt>
                <c:pt idx="45">
                  <c:v>34</c:v>
                </c:pt>
                <c:pt idx="46">
                  <c:v>19</c:v>
                </c:pt>
                <c:pt idx="47">
                  <c:v>182</c:v>
                </c:pt>
                <c:pt idx="48">
                  <c:v>201</c:v>
                </c:pt>
                <c:pt idx="49">
                  <c:v>292</c:v>
                </c:pt>
                <c:pt idx="50">
                  <c:v>300</c:v>
                </c:pt>
                <c:pt idx="51">
                  <c:v>377</c:v>
                </c:pt>
                <c:pt idx="52">
                  <c:v>58</c:v>
                </c:pt>
                <c:pt idx="53">
                  <c:v>15</c:v>
                </c:pt>
                <c:pt idx="54">
                  <c:v>281</c:v>
                </c:pt>
                <c:pt idx="55">
                  <c:v>490</c:v>
                </c:pt>
                <c:pt idx="56">
                  <c:v>458</c:v>
                </c:pt>
                <c:pt idx="57">
                  <c:v>635</c:v>
                </c:pt>
                <c:pt idx="58">
                  <c:v>524</c:v>
                </c:pt>
                <c:pt idx="59">
                  <c:v>70</c:v>
                </c:pt>
                <c:pt idx="60">
                  <c:v>63</c:v>
                </c:pt>
                <c:pt idx="61">
                  <c:v>752</c:v>
                </c:pt>
                <c:pt idx="62">
                  <c:v>877</c:v>
                </c:pt>
                <c:pt idx="63">
                  <c:v>951</c:v>
                </c:pt>
                <c:pt idx="64">
                  <c:v>898</c:v>
                </c:pt>
                <c:pt idx="65">
                  <c:v>817</c:v>
                </c:pt>
                <c:pt idx="66">
                  <c:v>351</c:v>
                </c:pt>
                <c:pt idx="67">
                  <c:v>363</c:v>
                </c:pt>
                <c:pt idx="68">
                  <c:v>795</c:v>
                </c:pt>
                <c:pt idx="69">
                  <c:v>927</c:v>
                </c:pt>
                <c:pt idx="70">
                  <c:v>989</c:v>
                </c:pt>
                <c:pt idx="71">
                  <c:v>1144</c:v>
                </c:pt>
                <c:pt idx="72">
                  <c:v>951</c:v>
                </c:pt>
                <c:pt idx="73">
                  <c:v>357</c:v>
                </c:pt>
                <c:pt idx="74">
                  <c:v>262</c:v>
                </c:pt>
                <c:pt idx="75">
                  <c:v>656</c:v>
                </c:pt>
                <c:pt idx="76">
                  <c:v>955</c:v>
                </c:pt>
                <c:pt idx="77">
                  <c:v>814</c:v>
                </c:pt>
                <c:pt idx="78">
                  <c:v>783</c:v>
                </c:pt>
                <c:pt idx="79">
                  <c:v>966</c:v>
                </c:pt>
                <c:pt idx="80">
                  <c:v>379</c:v>
                </c:pt>
                <c:pt idx="81">
                  <c:v>165</c:v>
                </c:pt>
                <c:pt idx="82">
                  <c:v>479</c:v>
                </c:pt>
                <c:pt idx="83">
                  <c:v>593</c:v>
                </c:pt>
                <c:pt idx="84">
                  <c:v>613</c:v>
                </c:pt>
                <c:pt idx="85">
                  <c:v>646</c:v>
                </c:pt>
                <c:pt idx="86">
                  <c:v>940</c:v>
                </c:pt>
                <c:pt idx="87">
                  <c:v>251</c:v>
                </c:pt>
                <c:pt idx="88">
                  <c:v>202</c:v>
                </c:pt>
                <c:pt idx="89">
                  <c:v>470</c:v>
                </c:pt>
                <c:pt idx="90">
                  <c:v>591</c:v>
                </c:pt>
                <c:pt idx="91">
                  <c:v>590</c:v>
                </c:pt>
                <c:pt idx="92">
                  <c:v>748</c:v>
                </c:pt>
                <c:pt idx="93">
                  <c:v>218</c:v>
                </c:pt>
                <c:pt idx="94">
                  <c:v>152</c:v>
                </c:pt>
                <c:pt idx="95">
                  <c:v>49</c:v>
                </c:pt>
                <c:pt idx="96">
                  <c:v>69</c:v>
                </c:pt>
                <c:pt idx="97">
                  <c:v>331</c:v>
                </c:pt>
                <c:pt idx="98">
                  <c:v>473</c:v>
                </c:pt>
                <c:pt idx="99">
                  <c:v>968</c:v>
                </c:pt>
                <c:pt idx="100">
                  <c:v>1143</c:v>
                </c:pt>
                <c:pt idx="101">
                  <c:v>670</c:v>
                </c:pt>
                <c:pt idx="102">
                  <c:v>256</c:v>
                </c:pt>
                <c:pt idx="103">
                  <c:v>884</c:v>
                </c:pt>
                <c:pt idx="104">
                  <c:v>785</c:v>
                </c:pt>
                <c:pt idx="105">
                  <c:v>846</c:v>
                </c:pt>
                <c:pt idx="106">
                  <c:v>1194</c:v>
                </c:pt>
                <c:pt idx="107">
                  <c:v>1601</c:v>
                </c:pt>
                <c:pt idx="108">
                  <c:v>763</c:v>
                </c:pt>
                <c:pt idx="109">
                  <c:v>623</c:v>
                </c:pt>
                <c:pt idx="110">
                  <c:v>1407</c:v>
                </c:pt>
                <c:pt idx="111">
                  <c:v>1222</c:v>
                </c:pt>
                <c:pt idx="112">
                  <c:v>1262</c:v>
                </c:pt>
                <c:pt idx="113">
                  <c:v>1316</c:v>
                </c:pt>
                <c:pt idx="114">
                  <c:v>1825</c:v>
                </c:pt>
                <c:pt idx="115">
                  <c:v>464</c:v>
                </c:pt>
                <c:pt idx="116">
                  <c:v>367</c:v>
                </c:pt>
                <c:pt idx="117">
                  <c:v>1024</c:v>
                </c:pt>
                <c:pt idx="118">
                  <c:v>820</c:v>
                </c:pt>
                <c:pt idx="119">
                  <c:v>986</c:v>
                </c:pt>
                <c:pt idx="120">
                  <c:v>1072</c:v>
                </c:pt>
                <c:pt idx="121">
                  <c:v>1390</c:v>
                </c:pt>
                <c:pt idx="122">
                  <c:v>369</c:v>
                </c:pt>
                <c:pt idx="123">
                  <c:v>331</c:v>
                </c:pt>
                <c:pt idx="124">
                  <c:v>1089</c:v>
                </c:pt>
                <c:pt idx="125">
                  <c:v>1251</c:v>
                </c:pt>
                <c:pt idx="126">
                  <c:v>1439</c:v>
                </c:pt>
                <c:pt idx="127">
                  <c:v>1683</c:v>
                </c:pt>
                <c:pt idx="128">
                  <c:v>1921</c:v>
                </c:pt>
                <c:pt idx="129">
                  <c:v>744</c:v>
                </c:pt>
                <c:pt idx="130">
                  <c:v>525</c:v>
                </c:pt>
                <c:pt idx="131">
                  <c:v>1603</c:v>
                </c:pt>
                <c:pt idx="132">
                  <c:v>1604</c:v>
                </c:pt>
                <c:pt idx="133">
                  <c:v>1334</c:v>
                </c:pt>
                <c:pt idx="134">
                  <c:v>1599</c:v>
                </c:pt>
                <c:pt idx="135">
                  <c:v>1438</c:v>
                </c:pt>
                <c:pt idx="136">
                  <c:v>613</c:v>
                </c:pt>
                <c:pt idx="137">
                  <c:v>432</c:v>
                </c:pt>
                <c:pt idx="138">
                  <c:v>1164</c:v>
                </c:pt>
                <c:pt idx="139">
                  <c:v>1184</c:v>
                </c:pt>
                <c:pt idx="140">
                  <c:v>1299</c:v>
                </c:pt>
                <c:pt idx="141">
                  <c:v>1342</c:v>
                </c:pt>
                <c:pt idx="142">
                  <c:v>1388</c:v>
                </c:pt>
                <c:pt idx="143">
                  <c:v>468</c:v>
                </c:pt>
                <c:pt idx="144">
                  <c:v>313</c:v>
                </c:pt>
                <c:pt idx="145">
                  <c:v>1690</c:v>
                </c:pt>
                <c:pt idx="146">
                  <c:v>5251</c:v>
                </c:pt>
                <c:pt idx="147">
                  <c:v>9454</c:v>
                </c:pt>
                <c:pt idx="148">
                  <c:v>9941</c:v>
                </c:pt>
                <c:pt idx="149">
                  <c:v>9637</c:v>
                </c:pt>
                <c:pt idx="150">
                  <c:v>4520</c:v>
                </c:pt>
                <c:pt idx="151">
                  <c:v>3014</c:v>
                </c:pt>
                <c:pt idx="152">
                  <c:v>10615</c:v>
                </c:pt>
                <c:pt idx="153">
                  <c:v>11798</c:v>
                </c:pt>
                <c:pt idx="154">
                  <c:v>14964</c:v>
                </c:pt>
                <c:pt idx="155">
                  <c:v>14173</c:v>
                </c:pt>
                <c:pt idx="156">
                  <c:v>13690</c:v>
                </c:pt>
                <c:pt idx="157">
                  <c:v>9097</c:v>
                </c:pt>
                <c:pt idx="158">
                  <c:v>5882</c:v>
                </c:pt>
                <c:pt idx="159">
                  <c:v>14157</c:v>
                </c:pt>
                <c:pt idx="160">
                  <c:v>10477</c:v>
                </c:pt>
                <c:pt idx="161">
                  <c:v>6719</c:v>
                </c:pt>
                <c:pt idx="162">
                  <c:v>8974</c:v>
                </c:pt>
                <c:pt idx="163">
                  <c:v>8974</c:v>
                </c:pt>
                <c:pt idx="164">
                  <c:v>8974</c:v>
                </c:pt>
                <c:pt idx="165">
                  <c:v>8974</c:v>
                </c:pt>
                <c:pt idx="166">
                  <c:v>8974</c:v>
                </c:pt>
                <c:pt idx="167">
                  <c:v>8974</c:v>
                </c:pt>
                <c:pt idx="168">
                  <c:v>8974</c:v>
                </c:pt>
                <c:pt idx="169">
                  <c:v>8974</c:v>
                </c:pt>
                <c:pt idx="170">
                  <c:v>8974</c:v>
                </c:pt>
                <c:pt idx="171">
                  <c:v>8974</c:v>
                </c:pt>
                <c:pt idx="172">
                  <c:v>8974</c:v>
                </c:pt>
                <c:pt idx="173">
                  <c:v>8974</c:v>
                </c:pt>
                <c:pt idx="174">
                  <c:v>8974</c:v>
                </c:pt>
                <c:pt idx="175">
                  <c:v>8974</c:v>
                </c:pt>
                <c:pt idx="176">
                  <c:v>8974</c:v>
                </c:pt>
                <c:pt idx="177">
                  <c:v>8974</c:v>
                </c:pt>
                <c:pt idx="178">
                  <c:v>8974</c:v>
                </c:pt>
                <c:pt idx="179">
                  <c:v>8974</c:v>
                </c:pt>
                <c:pt idx="180">
                  <c:v>8974</c:v>
                </c:pt>
                <c:pt idx="181">
                  <c:v>8974</c:v>
                </c:pt>
                <c:pt idx="182">
                  <c:v>8974</c:v>
                </c:pt>
                <c:pt idx="183" formatCode="#,##0">
                  <c:v>13461</c:v>
                </c:pt>
                <c:pt idx="184" formatCode="#,##0">
                  <c:v>13461</c:v>
                </c:pt>
                <c:pt idx="185" formatCode="#,##0">
                  <c:v>13461</c:v>
                </c:pt>
                <c:pt idx="186" formatCode="#,##0">
                  <c:v>13461</c:v>
                </c:pt>
                <c:pt idx="187" formatCode="#,##0">
                  <c:v>13461</c:v>
                </c:pt>
                <c:pt idx="188" formatCode="#,##0">
                  <c:v>13461</c:v>
                </c:pt>
                <c:pt idx="189" formatCode="#,##0">
                  <c:v>13461</c:v>
                </c:pt>
                <c:pt idx="190" formatCode="#,##0">
                  <c:v>13461</c:v>
                </c:pt>
                <c:pt idx="191" formatCode="#,##0">
                  <c:v>13461</c:v>
                </c:pt>
                <c:pt idx="192" formatCode="#,##0">
                  <c:v>13461</c:v>
                </c:pt>
                <c:pt idx="193" formatCode="#,##0">
                  <c:v>13461</c:v>
                </c:pt>
                <c:pt idx="194" formatCode="#,##0">
                  <c:v>13461</c:v>
                </c:pt>
                <c:pt idx="195" formatCode="#,##0">
                  <c:v>13461</c:v>
                </c:pt>
                <c:pt idx="196" formatCode="#,##0">
                  <c:v>13461</c:v>
                </c:pt>
                <c:pt idx="197" formatCode="#,##0">
                  <c:v>13461</c:v>
                </c:pt>
                <c:pt idx="198" formatCode="#,##0">
                  <c:v>0</c:v>
                </c:pt>
                <c:pt idx="199" formatCode="#,##0">
                  <c:v>0</c:v>
                </c:pt>
                <c:pt idx="200" formatCode="#,##0">
                  <c:v>0</c:v>
                </c:pt>
                <c:pt idx="201" formatCode="#,##0">
                  <c:v>0</c:v>
                </c:pt>
                <c:pt idx="202" formatCode="#,##0">
                  <c:v>0</c:v>
                </c:pt>
                <c:pt idx="203" formatCode="#,##0">
                  <c:v>0</c:v>
                </c:pt>
                <c:pt idx="204" formatCode="#,##0">
                  <c:v>0</c:v>
                </c:pt>
                <c:pt idx="205" formatCode="#,##0">
                  <c:v>0</c:v>
                </c:pt>
                <c:pt idx="206" formatCode="#,##0">
                  <c:v>0</c:v>
                </c:pt>
                <c:pt idx="207" formatCode="#,##0">
                  <c:v>0</c:v>
                </c:pt>
                <c:pt idx="208" formatCode="#,##0">
                  <c:v>0</c:v>
                </c:pt>
                <c:pt idx="209" formatCode="#,##0">
                  <c:v>0</c:v>
                </c:pt>
                <c:pt idx="210" formatCode="#,##0">
                  <c:v>0</c:v>
                </c:pt>
                <c:pt idx="211" formatCode="#,##0">
                  <c:v>0</c:v>
                </c:pt>
                <c:pt idx="212" formatCode="#,##0">
                  <c:v>0</c:v>
                </c:pt>
                <c:pt idx="213" formatCode="#,##0">
                  <c:v>0</c:v>
                </c:pt>
                <c:pt idx="214" formatCode="#,##0">
                  <c:v>0</c:v>
                </c:pt>
                <c:pt idx="215" formatCode="#,##0">
                  <c:v>0</c:v>
                </c:pt>
                <c:pt idx="216" formatCode="#,##0">
                  <c:v>0</c:v>
                </c:pt>
                <c:pt idx="217" formatCode="#,##0">
                  <c:v>0</c:v>
                </c:pt>
                <c:pt idx="218" formatCode="#,##0">
                  <c:v>0</c:v>
                </c:pt>
                <c:pt idx="219" formatCode="#,##0">
                  <c:v>0</c:v>
                </c:pt>
                <c:pt idx="220" formatCode="#,##0">
                  <c:v>0</c:v>
                </c:pt>
                <c:pt idx="221" formatCode="#,##0">
                  <c:v>0</c:v>
                </c:pt>
                <c:pt idx="222" formatCode="#,##0">
                  <c:v>0</c:v>
                </c:pt>
                <c:pt idx="223" formatCode="#,##0">
                  <c:v>0</c:v>
                </c:pt>
                <c:pt idx="224" formatCode="#,##0">
                  <c:v>0</c:v>
                </c:pt>
                <c:pt idx="225" formatCode="#,##0">
                  <c:v>0</c:v>
                </c:pt>
                <c:pt idx="226" formatCode="#,##0">
                  <c:v>0</c:v>
                </c:pt>
                <c:pt idx="227" formatCode="#,##0">
                  <c:v>0</c:v>
                </c:pt>
                <c:pt idx="228" formatCode="#,##0">
                  <c:v>0</c:v>
                </c:pt>
                <c:pt idx="229" formatCode="#,##0">
                  <c:v>0</c:v>
                </c:pt>
                <c:pt idx="230" formatCode="#,##0">
                  <c:v>0</c:v>
                </c:pt>
                <c:pt idx="231" formatCode="#,##0">
                  <c:v>0</c:v>
                </c:pt>
                <c:pt idx="232" formatCode="#,##0">
                  <c:v>0</c:v>
                </c:pt>
                <c:pt idx="233" formatCode="#,##0">
                  <c:v>0</c:v>
                </c:pt>
                <c:pt idx="234" formatCode="#,##0">
                  <c:v>0</c:v>
                </c:pt>
                <c:pt idx="235" formatCode="#,##0">
                  <c:v>0</c:v>
                </c:pt>
                <c:pt idx="236" formatCode="#,##0">
                  <c:v>0</c:v>
                </c:pt>
                <c:pt idx="237" formatCode="#,##0">
                  <c:v>0</c:v>
                </c:pt>
                <c:pt idx="238" formatCode="#,##0">
                  <c:v>0</c:v>
                </c:pt>
                <c:pt idx="239" formatCode="#,##0">
                  <c:v>0</c:v>
                </c:pt>
                <c:pt idx="240" formatCode="#,##0">
                  <c:v>0</c:v>
                </c:pt>
                <c:pt idx="241" formatCode="#,##0">
                  <c:v>0</c:v>
                </c:pt>
                <c:pt idx="242" formatCode="#,##0">
                  <c:v>0</c:v>
                </c:pt>
                <c:pt idx="243" formatCode="#,##0">
                  <c:v>0</c:v>
                </c:pt>
                <c:pt idx="244" formatCode="#,##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F267-42C6-AC42-927B0F02AEC7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9 40-44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G$5:$G$249</c:f>
              <c:numCache>
                <c:formatCode>General</c:formatCode>
                <c:ptCount val="245"/>
                <c:pt idx="0">
                  <c:v>480</c:v>
                </c:pt>
                <c:pt idx="1">
                  <c:v>155</c:v>
                </c:pt>
                <c:pt idx="2">
                  <c:v>45</c:v>
                </c:pt>
                <c:pt idx="3">
                  <c:v>200</c:v>
                </c:pt>
                <c:pt idx="4">
                  <c:v>149</c:v>
                </c:pt>
                <c:pt idx="5">
                  <c:v>516</c:v>
                </c:pt>
                <c:pt idx="6">
                  <c:v>641</c:v>
                </c:pt>
                <c:pt idx="7">
                  <c:v>833</c:v>
                </c:pt>
                <c:pt idx="8">
                  <c:v>993</c:v>
                </c:pt>
                <c:pt idx="9">
                  <c:v>1274</c:v>
                </c:pt>
                <c:pt idx="10">
                  <c:v>205</c:v>
                </c:pt>
                <c:pt idx="11">
                  <c:v>207</c:v>
                </c:pt>
                <c:pt idx="12">
                  <c:v>1327</c:v>
                </c:pt>
                <c:pt idx="13">
                  <c:v>1569</c:v>
                </c:pt>
                <c:pt idx="14">
                  <c:v>1465</c:v>
                </c:pt>
                <c:pt idx="15">
                  <c:v>1586</c:v>
                </c:pt>
                <c:pt idx="16">
                  <c:v>1414</c:v>
                </c:pt>
                <c:pt idx="17">
                  <c:v>211</c:v>
                </c:pt>
                <c:pt idx="18">
                  <c:v>78</c:v>
                </c:pt>
                <c:pt idx="19">
                  <c:v>976</c:v>
                </c:pt>
                <c:pt idx="20">
                  <c:v>827</c:v>
                </c:pt>
                <c:pt idx="21">
                  <c:v>738</c:v>
                </c:pt>
                <c:pt idx="22">
                  <c:v>852</c:v>
                </c:pt>
                <c:pt idx="23">
                  <c:v>706</c:v>
                </c:pt>
                <c:pt idx="24">
                  <c:v>72</c:v>
                </c:pt>
                <c:pt idx="25">
                  <c:v>33</c:v>
                </c:pt>
                <c:pt idx="26">
                  <c:v>366</c:v>
                </c:pt>
                <c:pt idx="27">
                  <c:v>415</c:v>
                </c:pt>
                <c:pt idx="28">
                  <c:v>404</c:v>
                </c:pt>
                <c:pt idx="29">
                  <c:v>303</c:v>
                </c:pt>
                <c:pt idx="30">
                  <c:v>261</c:v>
                </c:pt>
                <c:pt idx="31">
                  <c:v>12</c:v>
                </c:pt>
                <c:pt idx="32">
                  <c:v>10</c:v>
                </c:pt>
                <c:pt idx="33">
                  <c:v>152</c:v>
                </c:pt>
                <c:pt idx="34">
                  <c:v>164</c:v>
                </c:pt>
                <c:pt idx="35">
                  <c:v>198</c:v>
                </c:pt>
                <c:pt idx="36">
                  <c:v>177</c:v>
                </c:pt>
                <c:pt idx="37">
                  <c:v>210</c:v>
                </c:pt>
                <c:pt idx="38">
                  <c:v>7</c:v>
                </c:pt>
                <c:pt idx="39">
                  <c:v>5</c:v>
                </c:pt>
                <c:pt idx="40">
                  <c:v>159</c:v>
                </c:pt>
                <c:pt idx="41">
                  <c:v>246</c:v>
                </c:pt>
                <c:pt idx="42">
                  <c:v>332</c:v>
                </c:pt>
                <c:pt idx="43">
                  <c:v>296</c:v>
                </c:pt>
                <c:pt idx="44">
                  <c:v>306</c:v>
                </c:pt>
                <c:pt idx="45">
                  <c:v>61</c:v>
                </c:pt>
                <c:pt idx="46">
                  <c:v>28</c:v>
                </c:pt>
                <c:pt idx="47">
                  <c:v>267</c:v>
                </c:pt>
                <c:pt idx="48">
                  <c:v>337</c:v>
                </c:pt>
                <c:pt idx="49">
                  <c:v>401</c:v>
                </c:pt>
                <c:pt idx="50">
                  <c:v>443</c:v>
                </c:pt>
                <c:pt idx="51">
                  <c:v>528</c:v>
                </c:pt>
                <c:pt idx="52">
                  <c:v>79</c:v>
                </c:pt>
                <c:pt idx="53">
                  <c:v>17</c:v>
                </c:pt>
                <c:pt idx="54">
                  <c:v>422</c:v>
                </c:pt>
                <c:pt idx="55">
                  <c:v>603</c:v>
                </c:pt>
                <c:pt idx="56">
                  <c:v>603</c:v>
                </c:pt>
                <c:pt idx="57">
                  <c:v>845</c:v>
                </c:pt>
                <c:pt idx="58">
                  <c:v>745</c:v>
                </c:pt>
                <c:pt idx="59">
                  <c:v>132</c:v>
                </c:pt>
                <c:pt idx="60">
                  <c:v>119</c:v>
                </c:pt>
                <c:pt idx="61">
                  <c:v>1078</c:v>
                </c:pt>
                <c:pt idx="62">
                  <c:v>1492</c:v>
                </c:pt>
                <c:pt idx="63">
                  <c:v>1627</c:v>
                </c:pt>
                <c:pt idx="64">
                  <c:v>1415</c:v>
                </c:pt>
                <c:pt idx="65">
                  <c:v>1353</c:v>
                </c:pt>
                <c:pt idx="66">
                  <c:v>548</c:v>
                </c:pt>
                <c:pt idx="67">
                  <c:v>616</c:v>
                </c:pt>
                <c:pt idx="68">
                  <c:v>1272</c:v>
                </c:pt>
                <c:pt idx="69">
                  <c:v>1531</c:v>
                </c:pt>
                <c:pt idx="70">
                  <c:v>1450</c:v>
                </c:pt>
                <c:pt idx="71">
                  <c:v>1693</c:v>
                </c:pt>
                <c:pt idx="72">
                  <c:v>1749</c:v>
                </c:pt>
                <c:pt idx="73">
                  <c:v>636</c:v>
                </c:pt>
                <c:pt idx="74">
                  <c:v>480</c:v>
                </c:pt>
                <c:pt idx="75">
                  <c:v>1158</c:v>
                </c:pt>
                <c:pt idx="76">
                  <c:v>1675</c:v>
                </c:pt>
                <c:pt idx="77">
                  <c:v>1332</c:v>
                </c:pt>
                <c:pt idx="78">
                  <c:v>1262</c:v>
                </c:pt>
                <c:pt idx="79">
                  <c:v>1453</c:v>
                </c:pt>
                <c:pt idx="80">
                  <c:v>528</c:v>
                </c:pt>
                <c:pt idx="81">
                  <c:v>238</c:v>
                </c:pt>
                <c:pt idx="82">
                  <c:v>871</c:v>
                </c:pt>
                <c:pt idx="83">
                  <c:v>875</c:v>
                </c:pt>
                <c:pt idx="84">
                  <c:v>1000</c:v>
                </c:pt>
                <c:pt idx="85">
                  <c:v>1099</c:v>
                </c:pt>
                <c:pt idx="86">
                  <c:v>1331</c:v>
                </c:pt>
                <c:pt idx="87">
                  <c:v>295</c:v>
                </c:pt>
                <c:pt idx="88">
                  <c:v>302</c:v>
                </c:pt>
                <c:pt idx="89">
                  <c:v>772</c:v>
                </c:pt>
                <c:pt idx="90">
                  <c:v>960</c:v>
                </c:pt>
                <c:pt idx="91">
                  <c:v>876</c:v>
                </c:pt>
                <c:pt idx="92">
                  <c:v>1073</c:v>
                </c:pt>
                <c:pt idx="93">
                  <c:v>298</c:v>
                </c:pt>
                <c:pt idx="94">
                  <c:v>174</c:v>
                </c:pt>
                <c:pt idx="95">
                  <c:v>93</c:v>
                </c:pt>
                <c:pt idx="96">
                  <c:v>57</c:v>
                </c:pt>
                <c:pt idx="97">
                  <c:v>459</c:v>
                </c:pt>
                <c:pt idx="98">
                  <c:v>781</c:v>
                </c:pt>
                <c:pt idx="99">
                  <c:v>1293</c:v>
                </c:pt>
                <c:pt idx="100">
                  <c:v>1634</c:v>
                </c:pt>
                <c:pt idx="101">
                  <c:v>1029</c:v>
                </c:pt>
                <c:pt idx="102">
                  <c:v>515</c:v>
                </c:pt>
                <c:pt idx="103">
                  <c:v>1345</c:v>
                </c:pt>
                <c:pt idx="104">
                  <c:v>1455</c:v>
                </c:pt>
                <c:pt idx="105">
                  <c:v>1307</c:v>
                </c:pt>
                <c:pt idx="106">
                  <c:v>1910</c:v>
                </c:pt>
                <c:pt idx="107">
                  <c:v>2623</c:v>
                </c:pt>
                <c:pt idx="108">
                  <c:v>1058</c:v>
                </c:pt>
                <c:pt idx="109">
                  <c:v>821</c:v>
                </c:pt>
                <c:pt idx="110">
                  <c:v>2138</c:v>
                </c:pt>
                <c:pt idx="111">
                  <c:v>1840</c:v>
                </c:pt>
                <c:pt idx="112">
                  <c:v>1732</c:v>
                </c:pt>
                <c:pt idx="113">
                  <c:v>2041</c:v>
                </c:pt>
                <c:pt idx="114">
                  <c:v>2744</c:v>
                </c:pt>
                <c:pt idx="115">
                  <c:v>736</c:v>
                </c:pt>
                <c:pt idx="116">
                  <c:v>495</c:v>
                </c:pt>
                <c:pt idx="117">
                  <c:v>1357</c:v>
                </c:pt>
                <c:pt idx="118">
                  <c:v>1173</c:v>
                </c:pt>
                <c:pt idx="119">
                  <c:v>1456</c:v>
                </c:pt>
                <c:pt idx="120">
                  <c:v>1727</c:v>
                </c:pt>
                <c:pt idx="121">
                  <c:v>2159</c:v>
                </c:pt>
                <c:pt idx="122">
                  <c:v>615</c:v>
                </c:pt>
                <c:pt idx="123">
                  <c:v>491</c:v>
                </c:pt>
                <c:pt idx="124">
                  <c:v>1714</c:v>
                </c:pt>
                <c:pt idx="125">
                  <c:v>1971</c:v>
                </c:pt>
                <c:pt idx="126">
                  <c:v>2025</c:v>
                </c:pt>
                <c:pt idx="127">
                  <c:v>2644</c:v>
                </c:pt>
                <c:pt idx="128">
                  <c:v>2817</c:v>
                </c:pt>
                <c:pt idx="129">
                  <c:v>1059</c:v>
                </c:pt>
                <c:pt idx="130">
                  <c:v>772</c:v>
                </c:pt>
                <c:pt idx="131">
                  <c:v>2171</c:v>
                </c:pt>
                <c:pt idx="132">
                  <c:v>2324</c:v>
                </c:pt>
                <c:pt idx="133">
                  <c:v>2213</c:v>
                </c:pt>
                <c:pt idx="134">
                  <c:v>2397</c:v>
                </c:pt>
                <c:pt idx="135">
                  <c:v>2278</c:v>
                </c:pt>
                <c:pt idx="136">
                  <c:v>763</c:v>
                </c:pt>
                <c:pt idx="137">
                  <c:v>618</c:v>
                </c:pt>
                <c:pt idx="138">
                  <c:v>2769</c:v>
                </c:pt>
                <c:pt idx="139">
                  <c:v>7016</c:v>
                </c:pt>
                <c:pt idx="140">
                  <c:v>14068</c:v>
                </c:pt>
                <c:pt idx="141">
                  <c:v>18517</c:v>
                </c:pt>
                <c:pt idx="142">
                  <c:v>15766</c:v>
                </c:pt>
                <c:pt idx="143">
                  <c:v>9494</c:v>
                </c:pt>
                <c:pt idx="144">
                  <c:v>5875</c:v>
                </c:pt>
                <c:pt idx="145">
                  <c:v>15418</c:v>
                </c:pt>
                <c:pt idx="146">
                  <c:v>16438</c:v>
                </c:pt>
                <c:pt idx="147">
                  <c:v>20003</c:v>
                </c:pt>
                <c:pt idx="148">
                  <c:v>17325</c:v>
                </c:pt>
                <c:pt idx="149">
                  <c:v>17733</c:v>
                </c:pt>
                <c:pt idx="150">
                  <c:v>9630</c:v>
                </c:pt>
                <c:pt idx="151">
                  <c:v>8225</c:v>
                </c:pt>
                <c:pt idx="152">
                  <c:v>16979</c:v>
                </c:pt>
                <c:pt idx="153">
                  <c:v>16319</c:v>
                </c:pt>
                <c:pt idx="154">
                  <c:v>14288</c:v>
                </c:pt>
                <c:pt idx="155">
                  <c:v>10738</c:v>
                </c:pt>
                <c:pt idx="156">
                  <c:v>13111</c:v>
                </c:pt>
                <c:pt idx="157">
                  <c:v>5584</c:v>
                </c:pt>
                <c:pt idx="158">
                  <c:v>3740</c:v>
                </c:pt>
                <c:pt idx="159">
                  <c:v>9022</c:v>
                </c:pt>
                <c:pt idx="160">
                  <c:v>8186</c:v>
                </c:pt>
                <c:pt idx="161">
                  <c:v>5515</c:v>
                </c:pt>
                <c:pt idx="162">
                  <c:v>7689</c:v>
                </c:pt>
                <c:pt idx="163">
                  <c:v>7689</c:v>
                </c:pt>
                <c:pt idx="164">
                  <c:v>7689</c:v>
                </c:pt>
                <c:pt idx="165">
                  <c:v>7689</c:v>
                </c:pt>
                <c:pt idx="166">
                  <c:v>7689</c:v>
                </c:pt>
                <c:pt idx="167">
                  <c:v>7689</c:v>
                </c:pt>
                <c:pt idx="168">
                  <c:v>7689</c:v>
                </c:pt>
                <c:pt idx="169">
                  <c:v>7689</c:v>
                </c:pt>
                <c:pt idx="170">
                  <c:v>7689</c:v>
                </c:pt>
                <c:pt idx="171">
                  <c:v>7689</c:v>
                </c:pt>
                <c:pt idx="172">
                  <c:v>7689</c:v>
                </c:pt>
                <c:pt idx="173">
                  <c:v>7689</c:v>
                </c:pt>
                <c:pt idx="174">
                  <c:v>7689</c:v>
                </c:pt>
                <c:pt idx="175">
                  <c:v>7689</c:v>
                </c:pt>
                <c:pt idx="176">
                  <c:v>7689</c:v>
                </c:pt>
                <c:pt idx="177">
                  <c:v>7689</c:v>
                </c:pt>
                <c:pt idx="178">
                  <c:v>7689</c:v>
                </c:pt>
                <c:pt idx="179">
                  <c:v>7689</c:v>
                </c:pt>
                <c:pt idx="180">
                  <c:v>7689</c:v>
                </c:pt>
                <c:pt idx="181">
                  <c:v>7689</c:v>
                </c:pt>
                <c:pt idx="182">
                  <c:v>7689</c:v>
                </c:pt>
                <c:pt idx="183" formatCode="#,##0">
                  <c:v>11533</c:v>
                </c:pt>
                <c:pt idx="184" formatCode="#,##0">
                  <c:v>11533</c:v>
                </c:pt>
                <c:pt idx="185" formatCode="#,##0">
                  <c:v>11533</c:v>
                </c:pt>
                <c:pt idx="186" formatCode="#,##0">
                  <c:v>11533</c:v>
                </c:pt>
                <c:pt idx="187" formatCode="#,##0">
                  <c:v>11533</c:v>
                </c:pt>
                <c:pt idx="188" formatCode="#,##0">
                  <c:v>11533</c:v>
                </c:pt>
                <c:pt idx="189" formatCode="#,##0">
                  <c:v>11533</c:v>
                </c:pt>
                <c:pt idx="190" formatCode="#,##0">
                  <c:v>11533</c:v>
                </c:pt>
                <c:pt idx="191" formatCode="#,##0">
                  <c:v>11533</c:v>
                </c:pt>
                <c:pt idx="192" formatCode="#,##0">
                  <c:v>11533</c:v>
                </c:pt>
                <c:pt idx="193" formatCode="#,##0">
                  <c:v>11533</c:v>
                </c:pt>
                <c:pt idx="194" formatCode="#,##0">
                  <c:v>11533</c:v>
                </c:pt>
                <c:pt idx="195" formatCode="#,##0">
                  <c:v>11533</c:v>
                </c:pt>
                <c:pt idx="196" formatCode="#,##0">
                  <c:v>11533</c:v>
                </c:pt>
                <c:pt idx="197" formatCode="#,##0">
                  <c:v>11533</c:v>
                </c:pt>
                <c:pt idx="198" formatCode="#,##0">
                  <c:v>11533</c:v>
                </c:pt>
                <c:pt idx="199" formatCode="#,##0">
                  <c:v>0</c:v>
                </c:pt>
                <c:pt idx="200" formatCode="#,##0">
                  <c:v>0</c:v>
                </c:pt>
                <c:pt idx="201" formatCode="#,##0">
                  <c:v>0</c:v>
                </c:pt>
                <c:pt idx="202" formatCode="#,##0">
                  <c:v>0</c:v>
                </c:pt>
                <c:pt idx="203" formatCode="#,##0">
                  <c:v>0</c:v>
                </c:pt>
                <c:pt idx="204" formatCode="#,##0">
                  <c:v>0</c:v>
                </c:pt>
                <c:pt idx="205" formatCode="#,##0">
                  <c:v>0</c:v>
                </c:pt>
                <c:pt idx="206" formatCode="#,##0">
                  <c:v>0</c:v>
                </c:pt>
                <c:pt idx="207" formatCode="#,##0">
                  <c:v>0</c:v>
                </c:pt>
                <c:pt idx="208" formatCode="#,##0">
                  <c:v>0</c:v>
                </c:pt>
                <c:pt idx="209" formatCode="#,##0">
                  <c:v>0</c:v>
                </c:pt>
                <c:pt idx="210" formatCode="#,##0">
                  <c:v>0</c:v>
                </c:pt>
                <c:pt idx="211" formatCode="#,##0">
                  <c:v>0</c:v>
                </c:pt>
                <c:pt idx="212" formatCode="#,##0">
                  <c:v>0</c:v>
                </c:pt>
                <c:pt idx="213" formatCode="#,##0">
                  <c:v>0</c:v>
                </c:pt>
                <c:pt idx="214" formatCode="#,##0">
                  <c:v>0</c:v>
                </c:pt>
                <c:pt idx="215" formatCode="#,##0">
                  <c:v>0</c:v>
                </c:pt>
                <c:pt idx="216" formatCode="#,##0">
                  <c:v>0</c:v>
                </c:pt>
                <c:pt idx="217" formatCode="#,##0">
                  <c:v>0</c:v>
                </c:pt>
                <c:pt idx="218" formatCode="#,##0">
                  <c:v>0</c:v>
                </c:pt>
                <c:pt idx="219" formatCode="#,##0">
                  <c:v>0</c:v>
                </c:pt>
                <c:pt idx="220" formatCode="#,##0">
                  <c:v>0</c:v>
                </c:pt>
                <c:pt idx="221" formatCode="#,##0">
                  <c:v>0</c:v>
                </c:pt>
                <c:pt idx="222" formatCode="#,##0">
                  <c:v>0</c:v>
                </c:pt>
                <c:pt idx="223" formatCode="#,##0">
                  <c:v>0</c:v>
                </c:pt>
                <c:pt idx="224" formatCode="#,##0">
                  <c:v>0</c:v>
                </c:pt>
                <c:pt idx="225" formatCode="#,##0">
                  <c:v>0</c:v>
                </c:pt>
                <c:pt idx="226" formatCode="#,##0">
                  <c:v>0</c:v>
                </c:pt>
                <c:pt idx="227" formatCode="#,##0">
                  <c:v>0</c:v>
                </c:pt>
                <c:pt idx="228" formatCode="#,##0">
                  <c:v>0</c:v>
                </c:pt>
                <c:pt idx="229" formatCode="#,##0">
                  <c:v>0</c:v>
                </c:pt>
                <c:pt idx="230" formatCode="#,##0">
                  <c:v>0</c:v>
                </c:pt>
                <c:pt idx="231" formatCode="#,##0">
                  <c:v>0</c:v>
                </c:pt>
                <c:pt idx="232" formatCode="#,##0">
                  <c:v>0</c:v>
                </c:pt>
                <c:pt idx="233" formatCode="#,##0">
                  <c:v>0</c:v>
                </c:pt>
                <c:pt idx="234" formatCode="#,##0">
                  <c:v>0</c:v>
                </c:pt>
                <c:pt idx="235" formatCode="#,##0">
                  <c:v>0</c:v>
                </c:pt>
                <c:pt idx="236" formatCode="#,##0">
                  <c:v>0</c:v>
                </c:pt>
                <c:pt idx="237" formatCode="#,##0">
                  <c:v>0</c:v>
                </c:pt>
                <c:pt idx="238" formatCode="#,##0">
                  <c:v>0</c:v>
                </c:pt>
                <c:pt idx="239" formatCode="#,##0">
                  <c:v>0</c:v>
                </c:pt>
                <c:pt idx="240" formatCode="#,##0">
                  <c:v>0</c:v>
                </c:pt>
                <c:pt idx="241" formatCode="#,##0">
                  <c:v>0</c:v>
                </c:pt>
                <c:pt idx="242" formatCode="#,##0">
                  <c:v>0</c:v>
                </c:pt>
                <c:pt idx="243" formatCode="#,##0">
                  <c:v>0</c:v>
                </c:pt>
                <c:pt idx="244" formatCode="#,##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F267-42C6-AC42-927B0F02AEC7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10 45-49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H$5:$H$249</c:f>
              <c:numCache>
                <c:formatCode>General</c:formatCode>
                <c:ptCount val="245"/>
                <c:pt idx="0">
                  <c:v>456</c:v>
                </c:pt>
                <c:pt idx="1">
                  <c:v>166</c:v>
                </c:pt>
                <c:pt idx="2">
                  <c:v>41</c:v>
                </c:pt>
                <c:pt idx="3">
                  <c:v>197</c:v>
                </c:pt>
                <c:pt idx="4">
                  <c:v>139</c:v>
                </c:pt>
                <c:pt idx="5">
                  <c:v>580</c:v>
                </c:pt>
                <c:pt idx="6">
                  <c:v>695</c:v>
                </c:pt>
                <c:pt idx="7">
                  <c:v>934</c:v>
                </c:pt>
                <c:pt idx="8">
                  <c:v>1155</c:v>
                </c:pt>
                <c:pt idx="9">
                  <c:v>1473</c:v>
                </c:pt>
                <c:pt idx="10">
                  <c:v>270</c:v>
                </c:pt>
                <c:pt idx="11">
                  <c:v>224</c:v>
                </c:pt>
                <c:pt idx="12">
                  <c:v>1435</c:v>
                </c:pt>
                <c:pt idx="13">
                  <c:v>1827</c:v>
                </c:pt>
                <c:pt idx="14">
                  <c:v>1698</c:v>
                </c:pt>
                <c:pt idx="15">
                  <c:v>1868</c:v>
                </c:pt>
                <c:pt idx="16">
                  <c:v>1593</c:v>
                </c:pt>
                <c:pt idx="17">
                  <c:v>210</c:v>
                </c:pt>
                <c:pt idx="18">
                  <c:v>103</c:v>
                </c:pt>
                <c:pt idx="19">
                  <c:v>1069</c:v>
                </c:pt>
                <c:pt idx="20">
                  <c:v>1023</c:v>
                </c:pt>
                <c:pt idx="21">
                  <c:v>982</c:v>
                </c:pt>
                <c:pt idx="22">
                  <c:v>982</c:v>
                </c:pt>
                <c:pt idx="23">
                  <c:v>862</c:v>
                </c:pt>
                <c:pt idx="24">
                  <c:v>90</c:v>
                </c:pt>
                <c:pt idx="25">
                  <c:v>48</c:v>
                </c:pt>
                <c:pt idx="26">
                  <c:v>467</c:v>
                </c:pt>
                <c:pt idx="27">
                  <c:v>511</c:v>
                </c:pt>
                <c:pt idx="28">
                  <c:v>484</c:v>
                </c:pt>
                <c:pt idx="29">
                  <c:v>353</c:v>
                </c:pt>
                <c:pt idx="30">
                  <c:v>355</c:v>
                </c:pt>
                <c:pt idx="31">
                  <c:v>16</c:v>
                </c:pt>
                <c:pt idx="32">
                  <c:v>16</c:v>
                </c:pt>
                <c:pt idx="33">
                  <c:v>173</c:v>
                </c:pt>
                <c:pt idx="34">
                  <c:v>224</c:v>
                </c:pt>
                <c:pt idx="35">
                  <c:v>248</c:v>
                </c:pt>
                <c:pt idx="36">
                  <c:v>209</c:v>
                </c:pt>
                <c:pt idx="37">
                  <c:v>264</c:v>
                </c:pt>
                <c:pt idx="38">
                  <c:v>8</c:v>
                </c:pt>
                <c:pt idx="39">
                  <c:v>9</c:v>
                </c:pt>
                <c:pt idx="40">
                  <c:v>175</c:v>
                </c:pt>
                <c:pt idx="41">
                  <c:v>280</c:v>
                </c:pt>
                <c:pt idx="42">
                  <c:v>365</c:v>
                </c:pt>
                <c:pt idx="43">
                  <c:v>408</c:v>
                </c:pt>
                <c:pt idx="44">
                  <c:v>376</c:v>
                </c:pt>
                <c:pt idx="45">
                  <c:v>72</c:v>
                </c:pt>
                <c:pt idx="46">
                  <c:v>27</c:v>
                </c:pt>
                <c:pt idx="47">
                  <c:v>332</c:v>
                </c:pt>
                <c:pt idx="48">
                  <c:v>349</c:v>
                </c:pt>
                <c:pt idx="49">
                  <c:v>425</c:v>
                </c:pt>
                <c:pt idx="50">
                  <c:v>564</c:v>
                </c:pt>
                <c:pt idx="51">
                  <c:v>607</c:v>
                </c:pt>
                <c:pt idx="52">
                  <c:v>96</c:v>
                </c:pt>
                <c:pt idx="53">
                  <c:v>55</c:v>
                </c:pt>
                <c:pt idx="54">
                  <c:v>434</c:v>
                </c:pt>
                <c:pt idx="55">
                  <c:v>654</c:v>
                </c:pt>
                <c:pt idx="56">
                  <c:v>699</c:v>
                </c:pt>
                <c:pt idx="57">
                  <c:v>960</c:v>
                </c:pt>
                <c:pt idx="58">
                  <c:v>842</c:v>
                </c:pt>
                <c:pt idx="59">
                  <c:v>128</c:v>
                </c:pt>
                <c:pt idx="60">
                  <c:v>136</c:v>
                </c:pt>
                <c:pt idx="61">
                  <c:v>1250</c:v>
                </c:pt>
                <c:pt idx="62">
                  <c:v>1686</c:v>
                </c:pt>
                <c:pt idx="63">
                  <c:v>1921</c:v>
                </c:pt>
                <c:pt idx="64">
                  <c:v>1771</c:v>
                </c:pt>
                <c:pt idx="65">
                  <c:v>1576</c:v>
                </c:pt>
                <c:pt idx="66">
                  <c:v>629</c:v>
                </c:pt>
                <c:pt idx="67">
                  <c:v>759</c:v>
                </c:pt>
                <c:pt idx="68">
                  <c:v>1504</c:v>
                </c:pt>
                <c:pt idx="69">
                  <c:v>2104</c:v>
                </c:pt>
                <c:pt idx="70">
                  <c:v>1567</c:v>
                </c:pt>
                <c:pt idx="71">
                  <c:v>1896</c:v>
                </c:pt>
                <c:pt idx="72">
                  <c:v>1837</c:v>
                </c:pt>
                <c:pt idx="73">
                  <c:v>916</c:v>
                </c:pt>
                <c:pt idx="74">
                  <c:v>530</c:v>
                </c:pt>
                <c:pt idx="75">
                  <c:v>1243</c:v>
                </c:pt>
                <c:pt idx="76">
                  <c:v>1933</c:v>
                </c:pt>
                <c:pt idx="77">
                  <c:v>1553</c:v>
                </c:pt>
                <c:pt idx="78">
                  <c:v>1498</c:v>
                </c:pt>
                <c:pt idx="79">
                  <c:v>1635</c:v>
                </c:pt>
                <c:pt idx="80">
                  <c:v>631</c:v>
                </c:pt>
                <c:pt idx="81">
                  <c:v>301</c:v>
                </c:pt>
                <c:pt idx="82">
                  <c:v>1144</c:v>
                </c:pt>
                <c:pt idx="83">
                  <c:v>1205</c:v>
                </c:pt>
                <c:pt idx="84">
                  <c:v>1169</c:v>
                </c:pt>
                <c:pt idx="85">
                  <c:v>1207</c:v>
                </c:pt>
                <c:pt idx="86">
                  <c:v>1455</c:v>
                </c:pt>
                <c:pt idx="87">
                  <c:v>290</c:v>
                </c:pt>
                <c:pt idx="88">
                  <c:v>398</c:v>
                </c:pt>
                <c:pt idx="89">
                  <c:v>944</c:v>
                </c:pt>
                <c:pt idx="90">
                  <c:v>1489</c:v>
                </c:pt>
                <c:pt idx="91">
                  <c:v>1194</c:v>
                </c:pt>
                <c:pt idx="92">
                  <c:v>1216</c:v>
                </c:pt>
                <c:pt idx="93">
                  <c:v>322</c:v>
                </c:pt>
                <c:pt idx="94">
                  <c:v>197</c:v>
                </c:pt>
                <c:pt idx="95">
                  <c:v>111</c:v>
                </c:pt>
                <c:pt idx="96">
                  <c:v>80</c:v>
                </c:pt>
                <c:pt idx="97">
                  <c:v>698</c:v>
                </c:pt>
                <c:pt idx="98">
                  <c:v>1159</c:v>
                </c:pt>
                <c:pt idx="99">
                  <c:v>1614</c:v>
                </c:pt>
                <c:pt idx="100">
                  <c:v>2186</c:v>
                </c:pt>
                <c:pt idx="101">
                  <c:v>906</c:v>
                </c:pt>
                <c:pt idx="102">
                  <c:v>503</c:v>
                </c:pt>
                <c:pt idx="103">
                  <c:v>1640</c:v>
                </c:pt>
                <c:pt idx="104">
                  <c:v>1711</c:v>
                </c:pt>
                <c:pt idx="105">
                  <c:v>1786</c:v>
                </c:pt>
                <c:pt idx="106">
                  <c:v>2171</c:v>
                </c:pt>
                <c:pt idx="107">
                  <c:v>3108</c:v>
                </c:pt>
                <c:pt idx="108">
                  <c:v>1137</c:v>
                </c:pt>
                <c:pt idx="109">
                  <c:v>866</c:v>
                </c:pt>
                <c:pt idx="110">
                  <c:v>2289</c:v>
                </c:pt>
                <c:pt idx="111">
                  <c:v>2147</c:v>
                </c:pt>
                <c:pt idx="112">
                  <c:v>2272</c:v>
                </c:pt>
                <c:pt idx="113">
                  <c:v>2334</c:v>
                </c:pt>
                <c:pt idx="114">
                  <c:v>2767</c:v>
                </c:pt>
                <c:pt idx="115">
                  <c:v>1004</c:v>
                </c:pt>
                <c:pt idx="116">
                  <c:v>695</c:v>
                </c:pt>
                <c:pt idx="117">
                  <c:v>1654</c:v>
                </c:pt>
                <c:pt idx="118">
                  <c:v>1455</c:v>
                </c:pt>
                <c:pt idx="119">
                  <c:v>1840</c:v>
                </c:pt>
                <c:pt idx="120">
                  <c:v>1943</c:v>
                </c:pt>
                <c:pt idx="121">
                  <c:v>2511</c:v>
                </c:pt>
                <c:pt idx="122">
                  <c:v>633</c:v>
                </c:pt>
                <c:pt idx="123">
                  <c:v>598</c:v>
                </c:pt>
                <c:pt idx="124">
                  <c:v>2197</c:v>
                </c:pt>
                <c:pt idx="125">
                  <c:v>2415</c:v>
                </c:pt>
                <c:pt idx="126">
                  <c:v>2586</c:v>
                </c:pt>
                <c:pt idx="127">
                  <c:v>3172</c:v>
                </c:pt>
                <c:pt idx="128">
                  <c:v>3428</c:v>
                </c:pt>
                <c:pt idx="129">
                  <c:v>1170</c:v>
                </c:pt>
                <c:pt idx="130">
                  <c:v>805</c:v>
                </c:pt>
                <c:pt idx="131">
                  <c:v>2615</c:v>
                </c:pt>
                <c:pt idx="132">
                  <c:v>4418</c:v>
                </c:pt>
                <c:pt idx="133">
                  <c:v>11040</c:v>
                </c:pt>
                <c:pt idx="134">
                  <c:v>20415</c:v>
                </c:pt>
                <c:pt idx="135">
                  <c:v>20557</c:v>
                </c:pt>
                <c:pt idx="136">
                  <c:v>10422</c:v>
                </c:pt>
                <c:pt idx="137">
                  <c:v>9171</c:v>
                </c:pt>
                <c:pt idx="138">
                  <c:v>31619</c:v>
                </c:pt>
                <c:pt idx="139">
                  <c:v>27022</c:v>
                </c:pt>
                <c:pt idx="140">
                  <c:v>26861</c:v>
                </c:pt>
                <c:pt idx="141">
                  <c:v>22553</c:v>
                </c:pt>
                <c:pt idx="142">
                  <c:v>22450</c:v>
                </c:pt>
                <c:pt idx="143">
                  <c:v>9983</c:v>
                </c:pt>
                <c:pt idx="144">
                  <c:v>7171</c:v>
                </c:pt>
                <c:pt idx="145">
                  <c:v>12282</c:v>
                </c:pt>
                <c:pt idx="146">
                  <c:v>10721</c:v>
                </c:pt>
                <c:pt idx="147">
                  <c:v>12906</c:v>
                </c:pt>
                <c:pt idx="148">
                  <c:v>10256</c:v>
                </c:pt>
                <c:pt idx="149">
                  <c:v>11170</c:v>
                </c:pt>
                <c:pt idx="150">
                  <c:v>5124</c:v>
                </c:pt>
                <c:pt idx="151">
                  <c:v>4365</c:v>
                </c:pt>
                <c:pt idx="152">
                  <c:v>7535</c:v>
                </c:pt>
                <c:pt idx="153">
                  <c:v>7249</c:v>
                </c:pt>
                <c:pt idx="154">
                  <c:v>7316</c:v>
                </c:pt>
                <c:pt idx="155">
                  <c:v>6478</c:v>
                </c:pt>
                <c:pt idx="156">
                  <c:v>7429</c:v>
                </c:pt>
                <c:pt idx="157">
                  <c:v>3391</c:v>
                </c:pt>
                <c:pt idx="158">
                  <c:v>2112</c:v>
                </c:pt>
                <c:pt idx="159">
                  <c:v>5271</c:v>
                </c:pt>
                <c:pt idx="160">
                  <c:v>5038</c:v>
                </c:pt>
                <c:pt idx="161">
                  <c:v>3454</c:v>
                </c:pt>
                <c:pt idx="162">
                  <c:v>4243</c:v>
                </c:pt>
                <c:pt idx="163">
                  <c:v>4243</c:v>
                </c:pt>
                <c:pt idx="164">
                  <c:v>4243</c:v>
                </c:pt>
                <c:pt idx="165">
                  <c:v>4243</c:v>
                </c:pt>
                <c:pt idx="166">
                  <c:v>4243</c:v>
                </c:pt>
                <c:pt idx="167">
                  <c:v>4243</c:v>
                </c:pt>
                <c:pt idx="168">
                  <c:v>4243</c:v>
                </c:pt>
                <c:pt idx="169">
                  <c:v>4243</c:v>
                </c:pt>
                <c:pt idx="170">
                  <c:v>4243</c:v>
                </c:pt>
                <c:pt idx="171">
                  <c:v>4243</c:v>
                </c:pt>
                <c:pt idx="172">
                  <c:v>4243</c:v>
                </c:pt>
                <c:pt idx="173">
                  <c:v>4243</c:v>
                </c:pt>
                <c:pt idx="174">
                  <c:v>4243</c:v>
                </c:pt>
                <c:pt idx="175">
                  <c:v>4243</c:v>
                </c:pt>
                <c:pt idx="176">
                  <c:v>4243</c:v>
                </c:pt>
                <c:pt idx="177">
                  <c:v>4243</c:v>
                </c:pt>
                <c:pt idx="178">
                  <c:v>4243</c:v>
                </c:pt>
                <c:pt idx="179">
                  <c:v>4243</c:v>
                </c:pt>
                <c:pt idx="180">
                  <c:v>4243</c:v>
                </c:pt>
                <c:pt idx="181">
                  <c:v>4243</c:v>
                </c:pt>
                <c:pt idx="182">
                  <c:v>4243</c:v>
                </c:pt>
                <c:pt idx="183" formatCode="#,##0">
                  <c:v>6364</c:v>
                </c:pt>
                <c:pt idx="184" formatCode="#,##0">
                  <c:v>6364</c:v>
                </c:pt>
                <c:pt idx="185" formatCode="#,##0">
                  <c:v>6364</c:v>
                </c:pt>
                <c:pt idx="186" formatCode="#,##0">
                  <c:v>6364</c:v>
                </c:pt>
                <c:pt idx="187" formatCode="#,##0">
                  <c:v>6364</c:v>
                </c:pt>
                <c:pt idx="188" formatCode="#,##0">
                  <c:v>6364</c:v>
                </c:pt>
                <c:pt idx="189" formatCode="#,##0">
                  <c:v>6364</c:v>
                </c:pt>
                <c:pt idx="190" formatCode="#,##0">
                  <c:v>6364</c:v>
                </c:pt>
                <c:pt idx="191" formatCode="#,##0">
                  <c:v>6364</c:v>
                </c:pt>
                <c:pt idx="192" formatCode="#,##0">
                  <c:v>6364</c:v>
                </c:pt>
                <c:pt idx="193" formatCode="#,##0">
                  <c:v>0</c:v>
                </c:pt>
                <c:pt idx="194" formatCode="#,##0">
                  <c:v>0</c:v>
                </c:pt>
                <c:pt idx="195" formatCode="#,##0">
                  <c:v>0</c:v>
                </c:pt>
                <c:pt idx="196" formatCode="#,##0">
                  <c:v>0</c:v>
                </c:pt>
                <c:pt idx="197" formatCode="#,##0">
                  <c:v>0</c:v>
                </c:pt>
                <c:pt idx="198" formatCode="#,##0">
                  <c:v>0</c:v>
                </c:pt>
                <c:pt idx="199" formatCode="#,##0">
                  <c:v>0</c:v>
                </c:pt>
                <c:pt idx="200" formatCode="#,##0">
                  <c:v>0</c:v>
                </c:pt>
                <c:pt idx="201" formatCode="#,##0">
                  <c:v>0</c:v>
                </c:pt>
                <c:pt idx="202" formatCode="#,##0">
                  <c:v>0</c:v>
                </c:pt>
                <c:pt idx="203" formatCode="#,##0">
                  <c:v>0</c:v>
                </c:pt>
                <c:pt idx="204" formatCode="#,##0">
                  <c:v>0</c:v>
                </c:pt>
                <c:pt idx="205" formatCode="#,##0">
                  <c:v>0</c:v>
                </c:pt>
                <c:pt idx="206" formatCode="#,##0">
                  <c:v>0</c:v>
                </c:pt>
                <c:pt idx="207" formatCode="#,##0">
                  <c:v>0</c:v>
                </c:pt>
                <c:pt idx="208" formatCode="#,##0">
                  <c:v>0</c:v>
                </c:pt>
                <c:pt idx="209" formatCode="#,##0">
                  <c:v>0</c:v>
                </c:pt>
                <c:pt idx="210" formatCode="#,##0">
                  <c:v>0</c:v>
                </c:pt>
                <c:pt idx="211" formatCode="#,##0">
                  <c:v>0</c:v>
                </c:pt>
                <c:pt idx="212" formatCode="#,##0">
                  <c:v>0</c:v>
                </c:pt>
                <c:pt idx="213" formatCode="#,##0">
                  <c:v>0</c:v>
                </c:pt>
                <c:pt idx="214" formatCode="#,##0">
                  <c:v>0</c:v>
                </c:pt>
                <c:pt idx="215" formatCode="#,##0">
                  <c:v>0</c:v>
                </c:pt>
                <c:pt idx="216" formatCode="#,##0">
                  <c:v>0</c:v>
                </c:pt>
                <c:pt idx="217" formatCode="#,##0">
                  <c:v>0</c:v>
                </c:pt>
                <c:pt idx="218" formatCode="#,##0">
                  <c:v>0</c:v>
                </c:pt>
                <c:pt idx="219" formatCode="#,##0">
                  <c:v>0</c:v>
                </c:pt>
                <c:pt idx="220" formatCode="#,##0">
                  <c:v>0</c:v>
                </c:pt>
                <c:pt idx="221" formatCode="#,##0">
                  <c:v>0</c:v>
                </c:pt>
                <c:pt idx="222" formatCode="#,##0">
                  <c:v>0</c:v>
                </c:pt>
                <c:pt idx="223" formatCode="#,##0">
                  <c:v>0</c:v>
                </c:pt>
                <c:pt idx="224" formatCode="#,##0">
                  <c:v>0</c:v>
                </c:pt>
                <c:pt idx="225" formatCode="#,##0">
                  <c:v>0</c:v>
                </c:pt>
                <c:pt idx="226" formatCode="#,##0">
                  <c:v>0</c:v>
                </c:pt>
                <c:pt idx="227" formatCode="#,##0">
                  <c:v>0</c:v>
                </c:pt>
                <c:pt idx="228" formatCode="#,##0">
                  <c:v>0</c:v>
                </c:pt>
                <c:pt idx="229" formatCode="#,##0">
                  <c:v>0</c:v>
                </c:pt>
                <c:pt idx="230" formatCode="#,##0">
                  <c:v>0</c:v>
                </c:pt>
                <c:pt idx="231" formatCode="#,##0">
                  <c:v>0</c:v>
                </c:pt>
                <c:pt idx="232" formatCode="#,##0">
                  <c:v>0</c:v>
                </c:pt>
                <c:pt idx="233" formatCode="#,##0">
                  <c:v>0</c:v>
                </c:pt>
                <c:pt idx="234" formatCode="#,##0">
                  <c:v>0</c:v>
                </c:pt>
                <c:pt idx="235" formatCode="#,##0">
                  <c:v>0</c:v>
                </c:pt>
                <c:pt idx="236" formatCode="#,##0">
                  <c:v>0</c:v>
                </c:pt>
                <c:pt idx="237" formatCode="#,##0">
                  <c:v>0</c:v>
                </c:pt>
                <c:pt idx="238" formatCode="#,##0">
                  <c:v>0</c:v>
                </c:pt>
                <c:pt idx="239" formatCode="#,##0">
                  <c:v>0</c:v>
                </c:pt>
                <c:pt idx="240" formatCode="#,##0">
                  <c:v>0</c:v>
                </c:pt>
                <c:pt idx="241" formatCode="#,##0">
                  <c:v>0</c:v>
                </c:pt>
                <c:pt idx="242" formatCode="#,##0">
                  <c:v>0</c:v>
                </c:pt>
                <c:pt idx="243" formatCode="#,##0">
                  <c:v>0</c:v>
                </c:pt>
                <c:pt idx="244" formatCode="#,##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F267-42C6-AC42-927B0F02AEC7}"/>
            </c:ext>
          </c:extLst>
        </c:ser>
        <c:ser>
          <c:idx val="7"/>
          <c:order val="7"/>
          <c:tx>
            <c:strRef>
              <c:f>List1!$I$1</c:f>
              <c:strCache>
                <c:ptCount val="1"/>
                <c:pt idx="0">
                  <c:v>11 50-54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I$5:$I$249</c:f>
              <c:numCache>
                <c:formatCode>General</c:formatCode>
                <c:ptCount val="245"/>
                <c:pt idx="0">
                  <c:v>366</c:v>
                </c:pt>
                <c:pt idx="1">
                  <c:v>120</c:v>
                </c:pt>
                <c:pt idx="2">
                  <c:v>33</c:v>
                </c:pt>
                <c:pt idx="3">
                  <c:v>144</c:v>
                </c:pt>
                <c:pt idx="4">
                  <c:v>111</c:v>
                </c:pt>
                <c:pt idx="5">
                  <c:v>413</c:v>
                </c:pt>
                <c:pt idx="6">
                  <c:v>566</c:v>
                </c:pt>
                <c:pt idx="7">
                  <c:v>716</c:v>
                </c:pt>
                <c:pt idx="8">
                  <c:v>923</c:v>
                </c:pt>
                <c:pt idx="9">
                  <c:v>1117</c:v>
                </c:pt>
                <c:pt idx="10">
                  <c:v>193</c:v>
                </c:pt>
                <c:pt idx="11">
                  <c:v>187</c:v>
                </c:pt>
                <c:pt idx="12">
                  <c:v>1065</c:v>
                </c:pt>
                <c:pt idx="13">
                  <c:v>1317</c:v>
                </c:pt>
                <c:pt idx="14">
                  <c:v>1430</c:v>
                </c:pt>
                <c:pt idx="15">
                  <c:v>1504</c:v>
                </c:pt>
                <c:pt idx="16">
                  <c:v>1446</c:v>
                </c:pt>
                <c:pt idx="17">
                  <c:v>211</c:v>
                </c:pt>
                <c:pt idx="18">
                  <c:v>87</c:v>
                </c:pt>
                <c:pt idx="19">
                  <c:v>908</c:v>
                </c:pt>
                <c:pt idx="20">
                  <c:v>872</c:v>
                </c:pt>
                <c:pt idx="21">
                  <c:v>906</c:v>
                </c:pt>
                <c:pt idx="22">
                  <c:v>913</c:v>
                </c:pt>
                <c:pt idx="23">
                  <c:v>692</c:v>
                </c:pt>
                <c:pt idx="24">
                  <c:v>96</c:v>
                </c:pt>
                <c:pt idx="25">
                  <c:v>41</c:v>
                </c:pt>
                <c:pt idx="26">
                  <c:v>381</c:v>
                </c:pt>
                <c:pt idx="27">
                  <c:v>501</c:v>
                </c:pt>
                <c:pt idx="28">
                  <c:v>405</c:v>
                </c:pt>
                <c:pt idx="29">
                  <c:v>275</c:v>
                </c:pt>
                <c:pt idx="30">
                  <c:v>286</c:v>
                </c:pt>
                <c:pt idx="31">
                  <c:v>15</c:v>
                </c:pt>
                <c:pt idx="32">
                  <c:v>11</c:v>
                </c:pt>
                <c:pt idx="33">
                  <c:v>166</c:v>
                </c:pt>
                <c:pt idx="34">
                  <c:v>178</c:v>
                </c:pt>
                <c:pt idx="35">
                  <c:v>209</c:v>
                </c:pt>
                <c:pt idx="36">
                  <c:v>181</c:v>
                </c:pt>
                <c:pt idx="37">
                  <c:v>199</c:v>
                </c:pt>
                <c:pt idx="38">
                  <c:v>9</c:v>
                </c:pt>
                <c:pt idx="39">
                  <c:v>10</c:v>
                </c:pt>
                <c:pt idx="40">
                  <c:v>134</c:v>
                </c:pt>
                <c:pt idx="41">
                  <c:v>204</c:v>
                </c:pt>
                <c:pt idx="42">
                  <c:v>285</c:v>
                </c:pt>
                <c:pt idx="43">
                  <c:v>318</c:v>
                </c:pt>
                <c:pt idx="44">
                  <c:v>336</c:v>
                </c:pt>
                <c:pt idx="45">
                  <c:v>69</c:v>
                </c:pt>
                <c:pt idx="46">
                  <c:v>56</c:v>
                </c:pt>
                <c:pt idx="47">
                  <c:v>255</c:v>
                </c:pt>
                <c:pt idx="48">
                  <c:v>297</c:v>
                </c:pt>
                <c:pt idx="49">
                  <c:v>436</c:v>
                </c:pt>
                <c:pt idx="50">
                  <c:v>487</c:v>
                </c:pt>
                <c:pt idx="51">
                  <c:v>535</c:v>
                </c:pt>
                <c:pt idx="52">
                  <c:v>76</c:v>
                </c:pt>
                <c:pt idx="53">
                  <c:v>26</c:v>
                </c:pt>
                <c:pt idx="54">
                  <c:v>403</c:v>
                </c:pt>
                <c:pt idx="55">
                  <c:v>581</c:v>
                </c:pt>
                <c:pt idx="56">
                  <c:v>663</c:v>
                </c:pt>
                <c:pt idx="57">
                  <c:v>832</c:v>
                </c:pt>
                <c:pt idx="58">
                  <c:v>747</c:v>
                </c:pt>
                <c:pt idx="59">
                  <c:v>101</c:v>
                </c:pt>
                <c:pt idx="60">
                  <c:v>151</c:v>
                </c:pt>
                <c:pt idx="61">
                  <c:v>1048</c:v>
                </c:pt>
                <c:pt idx="62">
                  <c:v>1643</c:v>
                </c:pt>
                <c:pt idx="63">
                  <c:v>1719</c:v>
                </c:pt>
                <c:pt idx="64">
                  <c:v>1537</c:v>
                </c:pt>
                <c:pt idx="65">
                  <c:v>1448</c:v>
                </c:pt>
                <c:pt idx="66">
                  <c:v>737</c:v>
                </c:pt>
                <c:pt idx="67">
                  <c:v>738</c:v>
                </c:pt>
                <c:pt idx="68">
                  <c:v>1454</c:v>
                </c:pt>
                <c:pt idx="69">
                  <c:v>2077</c:v>
                </c:pt>
                <c:pt idx="70">
                  <c:v>1506</c:v>
                </c:pt>
                <c:pt idx="71">
                  <c:v>1715</c:v>
                </c:pt>
                <c:pt idx="72">
                  <c:v>1552</c:v>
                </c:pt>
                <c:pt idx="73">
                  <c:v>743</c:v>
                </c:pt>
                <c:pt idx="74">
                  <c:v>535</c:v>
                </c:pt>
                <c:pt idx="75">
                  <c:v>1007</c:v>
                </c:pt>
                <c:pt idx="76">
                  <c:v>1912</c:v>
                </c:pt>
                <c:pt idx="77">
                  <c:v>1546</c:v>
                </c:pt>
                <c:pt idx="78">
                  <c:v>1590</c:v>
                </c:pt>
                <c:pt idx="79">
                  <c:v>1663</c:v>
                </c:pt>
                <c:pt idx="80">
                  <c:v>942</c:v>
                </c:pt>
                <c:pt idx="81">
                  <c:v>376</c:v>
                </c:pt>
                <c:pt idx="82">
                  <c:v>1091</c:v>
                </c:pt>
                <c:pt idx="83">
                  <c:v>1123</c:v>
                </c:pt>
                <c:pt idx="84">
                  <c:v>1049</c:v>
                </c:pt>
                <c:pt idx="85">
                  <c:v>998</c:v>
                </c:pt>
                <c:pt idx="86">
                  <c:v>1206</c:v>
                </c:pt>
                <c:pt idx="87">
                  <c:v>295</c:v>
                </c:pt>
                <c:pt idx="88">
                  <c:v>237</c:v>
                </c:pt>
                <c:pt idx="89">
                  <c:v>715</c:v>
                </c:pt>
                <c:pt idx="90">
                  <c:v>1112</c:v>
                </c:pt>
                <c:pt idx="91">
                  <c:v>961</c:v>
                </c:pt>
                <c:pt idx="92">
                  <c:v>1089</c:v>
                </c:pt>
                <c:pt idx="93">
                  <c:v>371</c:v>
                </c:pt>
                <c:pt idx="94">
                  <c:v>182</c:v>
                </c:pt>
                <c:pt idx="95">
                  <c:v>150</c:v>
                </c:pt>
                <c:pt idx="96">
                  <c:v>158</c:v>
                </c:pt>
                <c:pt idx="97">
                  <c:v>769</c:v>
                </c:pt>
                <c:pt idx="98">
                  <c:v>1162</c:v>
                </c:pt>
                <c:pt idx="99">
                  <c:v>1471</c:v>
                </c:pt>
                <c:pt idx="100">
                  <c:v>1747</c:v>
                </c:pt>
                <c:pt idx="101">
                  <c:v>657</c:v>
                </c:pt>
                <c:pt idx="102">
                  <c:v>350</c:v>
                </c:pt>
                <c:pt idx="103">
                  <c:v>1506</c:v>
                </c:pt>
                <c:pt idx="104">
                  <c:v>1599</c:v>
                </c:pt>
                <c:pt idx="105">
                  <c:v>1653</c:v>
                </c:pt>
                <c:pt idx="106">
                  <c:v>1965</c:v>
                </c:pt>
                <c:pt idx="107">
                  <c:v>2449</c:v>
                </c:pt>
                <c:pt idx="108">
                  <c:v>1097</c:v>
                </c:pt>
                <c:pt idx="109">
                  <c:v>668</c:v>
                </c:pt>
                <c:pt idx="110">
                  <c:v>2292</c:v>
                </c:pt>
                <c:pt idx="111">
                  <c:v>1969</c:v>
                </c:pt>
                <c:pt idx="112">
                  <c:v>2095</c:v>
                </c:pt>
                <c:pt idx="113">
                  <c:v>2295</c:v>
                </c:pt>
                <c:pt idx="114">
                  <c:v>2706</c:v>
                </c:pt>
                <c:pt idx="115">
                  <c:v>720</c:v>
                </c:pt>
                <c:pt idx="116">
                  <c:v>524</c:v>
                </c:pt>
                <c:pt idx="117">
                  <c:v>1448</c:v>
                </c:pt>
                <c:pt idx="118">
                  <c:v>1342</c:v>
                </c:pt>
                <c:pt idx="119">
                  <c:v>1767</c:v>
                </c:pt>
                <c:pt idx="120">
                  <c:v>1815</c:v>
                </c:pt>
                <c:pt idx="121">
                  <c:v>2198</c:v>
                </c:pt>
                <c:pt idx="122">
                  <c:v>608</c:v>
                </c:pt>
                <c:pt idx="123">
                  <c:v>533</c:v>
                </c:pt>
                <c:pt idx="124">
                  <c:v>2030</c:v>
                </c:pt>
                <c:pt idx="125">
                  <c:v>2316</c:v>
                </c:pt>
                <c:pt idx="126">
                  <c:v>3421</c:v>
                </c:pt>
                <c:pt idx="127">
                  <c:v>9486</c:v>
                </c:pt>
                <c:pt idx="128">
                  <c:v>11767</c:v>
                </c:pt>
                <c:pt idx="129">
                  <c:v>7505</c:v>
                </c:pt>
                <c:pt idx="130">
                  <c:v>6413</c:v>
                </c:pt>
                <c:pt idx="131">
                  <c:v>22695</c:v>
                </c:pt>
                <c:pt idx="132">
                  <c:v>22989</c:v>
                </c:pt>
                <c:pt idx="133">
                  <c:v>25593</c:v>
                </c:pt>
                <c:pt idx="134">
                  <c:v>22386</c:v>
                </c:pt>
                <c:pt idx="135">
                  <c:v>21895</c:v>
                </c:pt>
                <c:pt idx="136">
                  <c:v>7769</c:v>
                </c:pt>
                <c:pt idx="137">
                  <c:v>5951</c:v>
                </c:pt>
                <c:pt idx="138">
                  <c:v>13211</c:v>
                </c:pt>
                <c:pt idx="139">
                  <c:v>12230</c:v>
                </c:pt>
                <c:pt idx="140">
                  <c:v>11191</c:v>
                </c:pt>
                <c:pt idx="141">
                  <c:v>9814</c:v>
                </c:pt>
                <c:pt idx="142">
                  <c:v>9764</c:v>
                </c:pt>
                <c:pt idx="143">
                  <c:v>3688</c:v>
                </c:pt>
                <c:pt idx="144">
                  <c:v>2907</c:v>
                </c:pt>
                <c:pt idx="145">
                  <c:v>4448</c:v>
                </c:pt>
                <c:pt idx="146">
                  <c:v>4635</c:v>
                </c:pt>
                <c:pt idx="147">
                  <c:v>6211</c:v>
                </c:pt>
                <c:pt idx="148">
                  <c:v>5329</c:v>
                </c:pt>
                <c:pt idx="149">
                  <c:v>5616</c:v>
                </c:pt>
                <c:pt idx="150">
                  <c:v>2416</c:v>
                </c:pt>
                <c:pt idx="151">
                  <c:v>1908</c:v>
                </c:pt>
                <c:pt idx="152">
                  <c:v>3633</c:v>
                </c:pt>
                <c:pt idx="153">
                  <c:v>3713</c:v>
                </c:pt>
                <c:pt idx="154">
                  <c:v>3925</c:v>
                </c:pt>
                <c:pt idx="155">
                  <c:v>3522</c:v>
                </c:pt>
                <c:pt idx="156">
                  <c:v>3864</c:v>
                </c:pt>
                <c:pt idx="157">
                  <c:v>1681</c:v>
                </c:pt>
                <c:pt idx="158">
                  <c:v>1086</c:v>
                </c:pt>
                <c:pt idx="159">
                  <c:v>3096</c:v>
                </c:pt>
                <c:pt idx="160">
                  <c:v>3068</c:v>
                </c:pt>
                <c:pt idx="161">
                  <c:v>2216</c:v>
                </c:pt>
                <c:pt idx="162">
                  <c:v>2327</c:v>
                </c:pt>
                <c:pt idx="163">
                  <c:v>2327</c:v>
                </c:pt>
                <c:pt idx="164">
                  <c:v>2327</c:v>
                </c:pt>
                <c:pt idx="165">
                  <c:v>2327</c:v>
                </c:pt>
                <c:pt idx="166">
                  <c:v>2327</c:v>
                </c:pt>
                <c:pt idx="167">
                  <c:v>2327</c:v>
                </c:pt>
                <c:pt idx="168">
                  <c:v>2327</c:v>
                </c:pt>
                <c:pt idx="169">
                  <c:v>2327</c:v>
                </c:pt>
                <c:pt idx="170">
                  <c:v>2327</c:v>
                </c:pt>
                <c:pt idx="171">
                  <c:v>2327</c:v>
                </c:pt>
                <c:pt idx="172">
                  <c:v>2327</c:v>
                </c:pt>
                <c:pt idx="173">
                  <c:v>2327</c:v>
                </c:pt>
                <c:pt idx="174">
                  <c:v>2327</c:v>
                </c:pt>
                <c:pt idx="175">
                  <c:v>2327</c:v>
                </c:pt>
                <c:pt idx="176">
                  <c:v>2327</c:v>
                </c:pt>
                <c:pt idx="177">
                  <c:v>2327</c:v>
                </c:pt>
                <c:pt idx="178">
                  <c:v>2327</c:v>
                </c:pt>
                <c:pt idx="179">
                  <c:v>2327</c:v>
                </c:pt>
                <c:pt idx="180">
                  <c:v>2327</c:v>
                </c:pt>
                <c:pt idx="181">
                  <c:v>2327</c:v>
                </c:pt>
                <c:pt idx="182">
                  <c:v>2327</c:v>
                </c:pt>
                <c:pt idx="183">
                  <c:v>3490</c:v>
                </c:pt>
                <c:pt idx="184">
                  <c:v>3490</c:v>
                </c:pt>
                <c:pt idx="185">
                  <c:v>3490</c:v>
                </c:pt>
                <c:pt idx="186">
                  <c:v>3490</c:v>
                </c:pt>
                <c:pt idx="187">
                  <c:v>3490</c:v>
                </c:pt>
                <c:pt idx="188">
                  <c:v>3490</c:v>
                </c:pt>
                <c:pt idx="189">
                  <c:v>3490</c:v>
                </c:pt>
                <c:pt idx="190">
                  <c:v>3490</c:v>
                </c:pt>
                <c:pt idx="191">
                  <c:v>3490</c:v>
                </c:pt>
                <c:pt idx="192">
                  <c:v>3490</c:v>
                </c:pt>
                <c:pt idx="193">
                  <c:v>3490</c:v>
                </c:pt>
                <c:pt idx="194">
                  <c:v>3490</c:v>
                </c:pt>
                <c:pt idx="195">
                  <c:v>3490</c:v>
                </c:pt>
                <c:pt idx="196">
                  <c:v>3490</c:v>
                </c:pt>
                <c:pt idx="197">
                  <c:v>3490</c:v>
                </c:pt>
                <c:pt idx="198">
                  <c:v>3490</c:v>
                </c:pt>
                <c:pt idx="199">
                  <c:v>3490</c:v>
                </c:pt>
                <c:pt idx="200">
                  <c:v>3490</c:v>
                </c:pt>
                <c:pt idx="201">
                  <c:v>3490</c:v>
                </c:pt>
                <c:pt idx="202">
                  <c:v>3490</c:v>
                </c:pt>
                <c:pt idx="203">
                  <c:v>3490</c:v>
                </c:pt>
                <c:pt idx="204">
                  <c:v>3490</c:v>
                </c:pt>
                <c:pt idx="205">
                  <c:v>3490</c:v>
                </c:pt>
                <c:pt idx="206">
                  <c:v>3490</c:v>
                </c:pt>
                <c:pt idx="207">
                  <c:v>3490</c:v>
                </c:pt>
                <c:pt idx="208">
                  <c:v>3490</c:v>
                </c:pt>
                <c:pt idx="209">
                  <c:v>3490</c:v>
                </c:pt>
                <c:pt idx="210">
                  <c:v>3490</c:v>
                </c:pt>
                <c:pt idx="211">
                  <c:v>3490</c:v>
                </c:pt>
                <c:pt idx="212">
                  <c:v>3490</c:v>
                </c:pt>
                <c:pt idx="213">
                  <c:v>349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F267-42C6-AC42-927B0F02AEC7}"/>
            </c:ext>
          </c:extLst>
        </c:ser>
        <c:ser>
          <c:idx val="8"/>
          <c:order val="8"/>
          <c:tx>
            <c:strRef>
              <c:f>List1!$J$1</c:f>
              <c:strCache>
                <c:ptCount val="1"/>
                <c:pt idx="0">
                  <c:v>12 55-59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J$5:$J$249</c:f>
              <c:numCache>
                <c:formatCode>General</c:formatCode>
                <c:ptCount val="245"/>
                <c:pt idx="0">
                  <c:v>373</c:v>
                </c:pt>
                <c:pt idx="1">
                  <c:v>113</c:v>
                </c:pt>
                <c:pt idx="2">
                  <c:v>30</c:v>
                </c:pt>
                <c:pt idx="3">
                  <c:v>127</c:v>
                </c:pt>
                <c:pt idx="4">
                  <c:v>100</c:v>
                </c:pt>
                <c:pt idx="5">
                  <c:v>422</c:v>
                </c:pt>
                <c:pt idx="6">
                  <c:v>521</c:v>
                </c:pt>
                <c:pt idx="7">
                  <c:v>651</c:v>
                </c:pt>
                <c:pt idx="8">
                  <c:v>838</c:v>
                </c:pt>
                <c:pt idx="9">
                  <c:v>1011</c:v>
                </c:pt>
                <c:pt idx="10">
                  <c:v>214</c:v>
                </c:pt>
                <c:pt idx="11">
                  <c:v>187</c:v>
                </c:pt>
                <c:pt idx="12">
                  <c:v>1038</c:v>
                </c:pt>
                <c:pt idx="13">
                  <c:v>1266</c:v>
                </c:pt>
                <c:pt idx="14">
                  <c:v>1344</c:v>
                </c:pt>
                <c:pt idx="15">
                  <c:v>1488</c:v>
                </c:pt>
                <c:pt idx="16">
                  <c:v>1380</c:v>
                </c:pt>
                <c:pt idx="17">
                  <c:v>189</c:v>
                </c:pt>
                <c:pt idx="18">
                  <c:v>87</c:v>
                </c:pt>
                <c:pt idx="19">
                  <c:v>885</c:v>
                </c:pt>
                <c:pt idx="20">
                  <c:v>896</c:v>
                </c:pt>
                <c:pt idx="21">
                  <c:v>890</c:v>
                </c:pt>
                <c:pt idx="22">
                  <c:v>895</c:v>
                </c:pt>
                <c:pt idx="23">
                  <c:v>736</c:v>
                </c:pt>
                <c:pt idx="24">
                  <c:v>100</c:v>
                </c:pt>
                <c:pt idx="25">
                  <c:v>40</c:v>
                </c:pt>
                <c:pt idx="26">
                  <c:v>397</c:v>
                </c:pt>
                <c:pt idx="27">
                  <c:v>518</c:v>
                </c:pt>
                <c:pt idx="28">
                  <c:v>433</c:v>
                </c:pt>
                <c:pt idx="29">
                  <c:v>288</c:v>
                </c:pt>
                <c:pt idx="30">
                  <c:v>294</c:v>
                </c:pt>
                <c:pt idx="31">
                  <c:v>22</c:v>
                </c:pt>
                <c:pt idx="32">
                  <c:v>14</c:v>
                </c:pt>
                <c:pt idx="33">
                  <c:v>143</c:v>
                </c:pt>
                <c:pt idx="34">
                  <c:v>176</c:v>
                </c:pt>
                <c:pt idx="35">
                  <c:v>188</c:v>
                </c:pt>
                <c:pt idx="36">
                  <c:v>167</c:v>
                </c:pt>
                <c:pt idx="37">
                  <c:v>228</c:v>
                </c:pt>
                <c:pt idx="38">
                  <c:v>16</c:v>
                </c:pt>
                <c:pt idx="39">
                  <c:v>13</c:v>
                </c:pt>
                <c:pt idx="40">
                  <c:v>150</c:v>
                </c:pt>
                <c:pt idx="41">
                  <c:v>252</c:v>
                </c:pt>
                <c:pt idx="42">
                  <c:v>295</c:v>
                </c:pt>
                <c:pt idx="43">
                  <c:v>283</c:v>
                </c:pt>
                <c:pt idx="44">
                  <c:v>355</c:v>
                </c:pt>
                <c:pt idx="45">
                  <c:v>68</c:v>
                </c:pt>
                <c:pt idx="46">
                  <c:v>54</c:v>
                </c:pt>
                <c:pt idx="47">
                  <c:v>246</c:v>
                </c:pt>
                <c:pt idx="48">
                  <c:v>292</c:v>
                </c:pt>
                <c:pt idx="49">
                  <c:v>400</c:v>
                </c:pt>
                <c:pt idx="50">
                  <c:v>495</c:v>
                </c:pt>
                <c:pt idx="51">
                  <c:v>514</c:v>
                </c:pt>
                <c:pt idx="52">
                  <c:v>78</c:v>
                </c:pt>
                <c:pt idx="53">
                  <c:v>23</c:v>
                </c:pt>
                <c:pt idx="54">
                  <c:v>413</c:v>
                </c:pt>
                <c:pt idx="55">
                  <c:v>505</c:v>
                </c:pt>
                <c:pt idx="56">
                  <c:v>693</c:v>
                </c:pt>
                <c:pt idx="57">
                  <c:v>835</c:v>
                </c:pt>
                <c:pt idx="58">
                  <c:v>789</c:v>
                </c:pt>
                <c:pt idx="59">
                  <c:v>102</c:v>
                </c:pt>
                <c:pt idx="60">
                  <c:v>198</c:v>
                </c:pt>
                <c:pt idx="61">
                  <c:v>1559</c:v>
                </c:pt>
                <c:pt idx="62">
                  <c:v>3030</c:v>
                </c:pt>
                <c:pt idx="63">
                  <c:v>2446</c:v>
                </c:pt>
                <c:pt idx="64">
                  <c:v>2275</c:v>
                </c:pt>
                <c:pt idx="65">
                  <c:v>1979</c:v>
                </c:pt>
                <c:pt idx="66">
                  <c:v>1108</c:v>
                </c:pt>
                <c:pt idx="67">
                  <c:v>876</c:v>
                </c:pt>
                <c:pt idx="68">
                  <c:v>2067</c:v>
                </c:pt>
                <c:pt idx="69">
                  <c:v>2214</c:v>
                </c:pt>
                <c:pt idx="70">
                  <c:v>2276</c:v>
                </c:pt>
                <c:pt idx="71">
                  <c:v>2204</c:v>
                </c:pt>
                <c:pt idx="72">
                  <c:v>1832</c:v>
                </c:pt>
                <c:pt idx="73">
                  <c:v>911</c:v>
                </c:pt>
                <c:pt idx="74">
                  <c:v>560</c:v>
                </c:pt>
                <c:pt idx="75">
                  <c:v>1231</c:v>
                </c:pt>
                <c:pt idx="76">
                  <c:v>2005</c:v>
                </c:pt>
                <c:pt idx="77">
                  <c:v>1817</c:v>
                </c:pt>
                <c:pt idx="78">
                  <c:v>1718</c:v>
                </c:pt>
                <c:pt idx="79">
                  <c:v>1904</c:v>
                </c:pt>
                <c:pt idx="80">
                  <c:v>793</c:v>
                </c:pt>
                <c:pt idx="81">
                  <c:v>301</c:v>
                </c:pt>
                <c:pt idx="82">
                  <c:v>1099</c:v>
                </c:pt>
                <c:pt idx="83">
                  <c:v>1263</c:v>
                </c:pt>
                <c:pt idx="84">
                  <c:v>1090</c:v>
                </c:pt>
                <c:pt idx="85">
                  <c:v>979</c:v>
                </c:pt>
                <c:pt idx="86">
                  <c:v>1222</c:v>
                </c:pt>
                <c:pt idx="87">
                  <c:v>365</c:v>
                </c:pt>
                <c:pt idx="88">
                  <c:v>376</c:v>
                </c:pt>
                <c:pt idx="89">
                  <c:v>934</c:v>
                </c:pt>
                <c:pt idx="90">
                  <c:v>1240</c:v>
                </c:pt>
                <c:pt idx="91">
                  <c:v>1229</c:v>
                </c:pt>
                <c:pt idx="92">
                  <c:v>1333</c:v>
                </c:pt>
                <c:pt idx="93">
                  <c:v>382</c:v>
                </c:pt>
                <c:pt idx="94">
                  <c:v>186</c:v>
                </c:pt>
                <c:pt idx="95">
                  <c:v>146</c:v>
                </c:pt>
                <c:pt idx="96">
                  <c:v>116</c:v>
                </c:pt>
                <c:pt idx="97">
                  <c:v>778</c:v>
                </c:pt>
                <c:pt idx="98">
                  <c:v>1116</c:v>
                </c:pt>
                <c:pt idx="99">
                  <c:v>1637</c:v>
                </c:pt>
                <c:pt idx="100">
                  <c:v>1983</c:v>
                </c:pt>
                <c:pt idx="101">
                  <c:v>880</c:v>
                </c:pt>
                <c:pt idx="102">
                  <c:v>422</c:v>
                </c:pt>
                <c:pt idx="103">
                  <c:v>1840</c:v>
                </c:pt>
                <c:pt idx="104">
                  <c:v>1810</c:v>
                </c:pt>
                <c:pt idx="105">
                  <c:v>1772</c:v>
                </c:pt>
                <c:pt idx="106">
                  <c:v>2451</c:v>
                </c:pt>
                <c:pt idx="107">
                  <c:v>2686</c:v>
                </c:pt>
                <c:pt idx="108">
                  <c:v>1139</c:v>
                </c:pt>
                <c:pt idx="109">
                  <c:v>746</c:v>
                </c:pt>
                <c:pt idx="110">
                  <c:v>2338</c:v>
                </c:pt>
                <c:pt idx="111">
                  <c:v>2293</c:v>
                </c:pt>
                <c:pt idx="112">
                  <c:v>2487</c:v>
                </c:pt>
                <c:pt idx="113">
                  <c:v>2735</c:v>
                </c:pt>
                <c:pt idx="114">
                  <c:v>3019</c:v>
                </c:pt>
                <c:pt idx="115">
                  <c:v>759</c:v>
                </c:pt>
                <c:pt idx="116">
                  <c:v>512</c:v>
                </c:pt>
                <c:pt idx="117">
                  <c:v>1841</c:v>
                </c:pt>
                <c:pt idx="118">
                  <c:v>1765</c:v>
                </c:pt>
                <c:pt idx="119">
                  <c:v>2405</c:v>
                </c:pt>
                <c:pt idx="120">
                  <c:v>5704</c:v>
                </c:pt>
                <c:pt idx="121">
                  <c:v>7648</c:v>
                </c:pt>
                <c:pt idx="122">
                  <c:v>4173</c:v>
                </c:pt>
                <c:pt idx="123">
                  <c:v>4206</c:v>
                </c:pt>
                <c:pt idx="124">
                  <c:v>17479</c:v>
                </c:pt>
                <c:pt idx="125">
                  <c:v>19388</c:v>
                </c:pt>
                <c:pt idx="126">
                  <c:v>21663</c:v>
                </c:pt>
                <c:pt idx="127">
                  <c:v>22552</c:v>
                </c:pt>
                <c:pt idx="128">
                  <c:v>21632</c:v>
                </c:pt>
                <c:pt idx="129">
                  <c:v>7418</c:v>
                </c:pt>
                <c:pt idx="130">
                  <c:v>6437</c:v>
                </c:pt>
                <c:pt idx="131">
                  <c:v>15430</c:v>
                </c:pt>
                <c:pt idx="132">
                  <c:v>14989</c:v>
                </c:pt>
                <c:pt idx="133">
                  <c:v>13022</c:v>
                </c:pt>
                <c:pt idx="134">
                  <c:v>11656</c:v>
                </c:pt>
                <c:pt idx="135">
                  <c:v>12751</c:v>
                </c:pt>
                <c:pt idx="136">
                  <c:v>4221</c:v>
                </c:pt>
                <c:pt idx="137">
                  <c:v>3532</c:v>
                </c:pt>
                <c:pt idx="138">
                  <c:v>7565</c:v>
                </c:pt>
                <c:pt idx="139">
                  <c:v>7164</c:v>
                </c:pt>
                <c:pt idx="140">
                  <c:v>6766</c:v>
                </c:pt>
                <c:pt idx="141">
                  <c:v>6344</c:v>
                </c:pt>
                <c:pt idx="142">
                  <c:v>5878</c:v>
                </c:pt>
                <c:pt idx="143">
                  <c:v>2793</c:v>
                </c:pt>
                <c:pt idx="144">
                  <c:v>2002</c:v>
                </c:pt>
                <c:pt idx="145">
                  <c:v>3348</c:v>
                </c:pt>
                <c:pt idx="146">
                  <c:v>3651</c:v>
                </c:pt>
                <c:pt idx="147">
                  <c:v>4681</c:v>
                </c:pt>
                <c:pt idx="148">
                  <c:v>4180</c:v>
                </c:pt>
                <c:pt idx="149">
                  <c:v>4051</c:v>
                </c:pt>
                <c:pt idx="150">
                  <c:v>1534</c:v>
                </c:pt>
                <c:pt idx="151">
                  <c:v>1101</c:v>
                </c:pt>
                <c:pt idx="152">
                  <c:v>2670</c:v>
                </c:pt>
                <c:pt idx="153">
                  <c:v>2889</c:v>
                </c:pt>
                <c:pt idx="154">
                  <c:v>3117</c:v>
                </c:pt>
                <c:pt idx="155">
                  <c:v>3003</c:v>
                </c:pt>
                <c:pt idx="156">
                  <c:v>3088</c:v>
                </c:pt>
                <c:pt idx="157">
                  <c:v>1318</c:v>
                </c:pt>
                <c:pt idx="158">
                  <c:v>755</c:v>
                </c:pt>
                <c:pt idx="159">
                  <c:v>2469</c:v>
                </c:pt>
                <c:pt idx="160">
                  <c:v>2622</c:v>
                </c:pt>
                <c:pt idx="161">
                  <c:v>1900</c:v>
                </c:pt>
                <c:pt idx="162">
                  <c:v>1881</c:v>
                </c:pt>
                <c:pt idx="163">
                  <c:v>1881</c:v>
                </c:pt>
                <c:pt idx="164">
                  <c:v>1881</c:v>
                </c:pt>
                <c:pt idx="165">
                  <c:v>1881</c:v>
                </c:pt>
                <c:pt idx="166">
                  <c:v>1881</c:v>
                </c:pt>
                <c:pt idx="167">
                  <c:v>1881</c:v>
                </c:pt>
                <c:pt idx="168">
                  <c:v>1881</c:v>
                </c:pt>
                <c:pt idx="169">
                  <c:v>1881</c:v>
                </c:pt>
                <c:pt idx="170">
                  <c:v>1881</c:v>
                </c:pt>
                <c:pt idx="171">
                  <c:v>1881</c:v>
                </c:pt>
                <c:pt idx="172">
                  <c:v>1881</c:v>
                </c:pt>
                <c:pt idx="173">
                  <c:v>1881</c:v>
                </c:pt>
                <c:pt idx="174">
                  <c:v>1881</c:v>
                </c:pt>
                <c:pt idx="175">
                  <c:v>1881</c:v>
                </c:pt>
                <c:pt idx="176">
                  <c:v>1881</c:v>
                </c:pt>
                <c:pt idx="177">
                  <c:v>1881</c:v>
                </c:pt>
                <c:pt idx="178">
                  <c:v>1881</c:v>
                </c:pt>
                <c:pt idx="179">
                  <c:v>1881</c:v>
                </c:pt>
                <c:pt idx="180">
                  <c:v>1881</c:v>
                </c:pt>
                <c:pt idx="181">
                  <c:v>1881</c:v>
                </c:pt>
                <c:pt idx="182">
                  <c:v>1881</c:v>
                </c:pt>
                <c:pt idx="183">
                  <c:v>2821</c:v>
                </c:pt>
                <c:pt idx="184">
                  <c:v>2821</c:v>
                </c:pt>
                <c:pt idx="185">
                  <c:v>2821</c:v>
                </c:pt>
                <c:pt idx="186">
                  <c:v>2821</c:v>
                </c:pt>
                <c:pt idx="187">
                  <c:v>2821</c:v>
                </c:pt>
                <c:pt idx="188">
                  <c:v>2821</c:v>
                </c:pt>
                <c:pt idx="189">
                  <c:v>2821</c:v>
                </c:pt>
                <c:pt idx="190">
                  <c:v>2821</c:v>
                </c:pt>
                <c:pt idx="191">
                  <c:v>2821</c:v>
                </c:pt>
                <c:pt idx="192">
                  <c:v>2821</c:v>
                </c:pt>
                <c:pt idx="193">
                  <c:v>2821</c:v>
                </c:pt>
                <c:pt idx="194">
                  <c:v>2821</c:v>
                </c:pt>
                <c:pt idx="195">
                  <c:v>2821</c:v>
                </c:pt>
                <c:pt idx="196">
                  <c:v>2821</c:v>
                </c:pt>
                <c:pt idx="197">
                  <c:v>2821</c:v>
                </c:pt>
                <c:pt idx="198">
                  <c:v>2821</c:v>
                </c:pt>
                <c:pt idx="199">
                  <c:v>2821</c:v>
                </c:pt>
                <c:pt idx="200">
                  <c:v>2821</c:v>
                </c:pt>
                <c:pt idx="201">
                  <c:v>2821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F267-42C6-AC42-927B0F02AEC7}"/>
            </c:ext>
          </c:extLst>
        </c:ser>
        <c:ser>
          <c:idx val="9"/>
          <c:order val="9"/>
          <c:tx>
            <c:strRef>
              <c:f>List1!$K$1</c:f>
              <c:strCache>
                <c:ptCount val="1"/>
                <c:pt idx="0">
                  <c:v>13 60-64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K$5:$K$249</c:f>
              <c:numCache>
                <c:formatCode>General</c:formatCode>
                <c:ptCount val="245"/>
                <c:pt idx="0">
                  <c:v>295</c:v>
                </c:pt>
                <c:pt idx="1">
                  <c:v>85</c:v>
                </c:pt>
                <c:pt idx="2">
                  <c:v>23</c:v>
                </c:pt>
                <c:pt idx="3">
                  <c:v>107</c:v>
                </c:pt>
                <c:pt idx="4">
                  <c:v>63</c:v>
                </c:pt>
                <c:pt idx="5">
                  <c:v>290</c:v>
                </c:pt>
                <c:pt idx="6">
                  <c:v>338</c:v>
                </c:pt>
                <c:pt idx="7">
                  <c:v>462</c:v>
                </c:pt>
                <c:pt idx="8">
                  <c:v>668</c:v>
                </c:pt>
                <c:pt idx="9">
                  <c:v>749</c:v>
                </c:pt>
                <c:pt idx="10">
                  <c:v>180</c:v>
                </c:pt>
                <c:pt idx="11">
                  <c:v>142</c:v>
                </c:pt>
                <c:pt idx="12">
                  <c:v>793</c:v>
                </c:pt>
                <c:pt idx="13">
                  <c:v>1022</c:v>
                </c:pt>
                <c:pt idx="14">
                  <c:v>971</c:v>
                </c:pt>
                <c:pt idx="15">
                  <c:v>1125</c:v>
                </c:pt>
                <c:pt idx="16">
                  <c:v>1116</c:v>
                </c:pt>
                <c:pt idx="17">
                  <c:v>182</c:v>
                </c:pt>
                <c:pt idx="18">
                  <c:v>85</c:v>
                </c:pt>
                <c:pt idx="19">
                  <c:v>757</c:v>
                </c:pt>
                <c:pt idx="20">
                  <c:v>718</c:v>
                </c:pt>
                <c:pt idx="21">
                  <c:v>742</c:v>
                </c:pt>
                <c:pt idx="22">
                  <c:v>644</c:v>
                </c:pt>
                <c:pt idx="23">
                  <c:v>500</c:v>
                </c:pt>
                <c:pt idx="24">
                  <c:v>76</c:v>
                </c:pt>
                <c:pt idx="25">
                  <c:v>39</c:v>
                </c:pt>
                <c:pt idx="26">
                  <c:v>331</c:v>
                </c:pt>
                <c:pt idx="27">
                  <c:v>407</c:v>
                </c:pt>
                <c:pt idx="28">
                  <c:v>302</c:v>
                </c:pt>
                <c:pt idx="29">
                  <c:v>262</c:v>
                </c:pt>
                <c:pt idx="30">
                  <c:v>222</c:v>
                </c:pt>
                <c:pt idx="31">
                  <c:v>18</c:v>
                </c:pt>
                <c:pt idx="32">
                  <c:v>14</c:v>
                </c:pt>
                <c:pt idx="33">
                  <c:v>127</c:v>
                </c:pt>
                <c:pt idx="34">
                  <c:v>146</c:v>
                </c:pt>
                <c:pt idx="35">
                  <c:v>170</c:v>
                </c:pt>
                <c:pt idx="36">
                  <c:v>137</c:v>
                </c:pt>
                <c:pt idx="37">
                  <c:v>221</c:v>
                </c:pt>
                <c:pt idx="38">
                  <c:v>14</c:v>
                </c:pt>
                <c:pt idx="39">
                  <c:v>12</c:v>
                </c:pt>
                <c:pt idx="40">
                  <c:v>110</c:v>
                </c:pt>
                <c:pt idx="41">
                  <c:v>156</c:v>
                </c:pt>
                <c:pt idx="42">
                  <c:v>192</c:v>
                </c:pt>
                <c:pt idx="43">
                  <c:v>265</c:v>
                </c:pt>
                <c:pt idx="44">
                  <c:v>255</c:v>
                </c:pt>
                <c:pt idx="45">
                  <c:v>54</c:v>
                </c:pt>
                <c:pt idx="46">
                  <c:v>32</c:v>
                </c:pt>
                <c:pt idx="47">
                  <c:v>194</c:v>
                </c:pt>
                <c:pt idx="48">
                  <c:v>250</c:v>
                </c:pt>
                <c:pt idx="49">
                  <c:v>318</c:v>
                </c:pt>
                <c:pt idx="50">
                  <c:v>462</c:v>
                </c:pt>
                <c:pt idx="51">
                  <c:v>384</c:v>
                </c:pt>
                <c:pt idx="52">
                  <c:v>71</c:v>
                </c:pt>
                <c:pt idx="53">
                  <c:v>30</c:v>
                </c:pt>
                <c:pt idx="54">
                  <c:v>329</c:v>
                </c:pt>
                <c:pt idx="55">
                  <c:v>386</c:v>
                </c:pt>
                <c:pt idx="56">
                  <c:v>632</c:v>
                </c:pt>
                <c:pt idx="57">
                  <c:v>666</c:v>
                </c:pt>
                <c:pt idx="58">
                  <c:v>655</c:v>
                </c:pt>
                <c:pt idx="59">
                  <c:v>80</c:v>
                </c:pt>
                <c:pt idx="60">
                  <c:v>121</c:v>
                </c:pt>
                <c:pt idx="61">
                  <c:v>1338</c:v>
                </c:pt>
                <c:pt idx="62">
                  <c:v>2581</c:v>
                </c:pt>
                <c:pt idx="63">
                  <c:v>2193</c:v>
                </c:pt>
                <c:pt idx="64">
                  <c:v>2391</c:v>
                </c:pt>
                <c:pt idx="65">
                  <c:v>1682</c:v>
                </c:pt>
                <c:pt idx="66">
                  <c:v>815</c:v>
                </c:pt>
                <c:pt idx="67">
                  <c:v>664</c:v>
                </c:pt>
                <c:pt idx="68">
                  <c:v>1700</c:v>
                </c:pt>
                <c:pt idx="69">
                  <c:v>1905</c:v>
                </c:pt>
                <c:pt idx="70">
                  <c:v>1654</c:v>
                </c:pt>
                <c:pt idx="71">
                  <c:v>1706</c:v>
                </c:pt>
                <c:pt idx="72">
                  <c:v>1322</c:v>
                </c:pt>
                <c:pt idx="73">
                  <c:v>557</c:v>
                </c:pt>
                <c:pt idx="74">
                  <c:v>296</c:v>
                </c:pt>
                <c:pt idx="75">
                  <c:v>862</c:v>
                </c:pt>
                <c:pt idx="76">
                  <c:v>1379</c:v>
                </c:pt>
                <c:pt idx="77">
                  <c:v>1207</c:v>
                </c:pt>
                <c:pt idx="78">
                  <c:v>1136</c:v>
                </c:pt>
                <c:pt idx="79">
                  <c:v>1410</c:v>
                </c:pt>
                <c:pt idx="80">
                  <c:v>380</c:v>
                </c:pt>
                <c:pt idx="81">
                  <c:v>156</c:v>
                </c:pt>
                <c:pt idx="82">
                  <c:v>866</c:v>
                </c:pt>
                <c:pt idx="83">
                  <c:v>867</c:v>
                </c:pt>
                <c:pt idx="84">
                  <c:v>996</c:v>
                </c:pt>
                <c:pt idx="85">
                  <c:v>983</c:v>
                </c:pt>
                <c:pt idx="86">
                  <c:v>1191</c:v>
                </c:pt>
                <c:pt idx="87">
                  <c:v>291</c:v>
                </c:pt>
                <c:pt idx="88">
                  <c:v>246</c:v>
                </c:pt>
                <c:pt idx="89">
                  <c:v>1029</c:v>
                </c:pt>
                <c:pt idx="90">
                  <c:v>1261</c:v>
                </c:pt>
                <c:pt idx="91">
                  <c:v>1238</c:v>
                </c:pt>
                <c:pt idx="92">
                  <c:v>1327</c:v>
                </c:pt>
                <c:pt idx="93">
                  <c:v>322</c:v>
                </c:pt>
                <c:pt idx="94">
                  <c:v>172</c:v>
                </c:pt>
                <c:pt idx="95">
                  <c:v>100</c:v>
                </c:pt>
                <c:pt idx="96">
                  <c:v>100</c:v>
                </c:pt>
                <c:pt idx="97">
                  <c:v>871</c:v>
                </c:pt>
                <c:pt idx="98">
                  <c:v>1250</c:v>
                </c:pt>
                <c:pt idx="99">
                  <c:v>2170</c:v>
                </c:pt>
                <c:pt idx="100">
                  <c:v>2196</c:v>
                </c:pt>
                <c:pt idx="101">
                  <c:v>871</c:v>
                </c:pt>
                <c:pt idx="102">
                  <c:v>490</c:v>
                </c:pt>
                <c:pt idx="103">
                  <c:v>2483</c:v>
                </c:pt>
                <c:pt idx="104">
                  <c:v>2311</c:v>
                </c:pt>
                <c:pt idx="105">
                  <c:v>2479</c:v>
                </c:pt>
                <c:pt idx="106">
                  <c:v>3346</c:v>
                </c:pt>
                <c:pt idx="107">
                  <c:v>3490</c:v>
                </c:pt>
                <c:pt idx="108">
                  <c:v>991</c:v>
                </c:pt>
                <c:pt idx="109">
                  <c:v>681</c:v>
                </c:pt>
                <c:pt idx="110">
                  <c:v>2910</c:v>
                </c:pt>
                <c:pt idx="111">
                  <c:v>2971</c:v>
                </c:pt>
                <c:pt idx="112">
                  <c:v>3319</c:v>
                </c:pt>
                <c:pt idx="113">
                  <c:v>3650</c:v>
                </c:pt>
                <c:pt idx="114">
                  <c:v>3842</c:v>
                </c:pt>
                <c:pt idx="115">
                  <c:v>1745</c:v>
                </c:pt>
                <c:pt idx="116">
                  <c:v>2795</c:v>
                </c:pt>
                <c:pt idx="117">
                  <c:v>8391</c:v>
                </c:pt>
                <c:pt idx="118">
                  <c:v>12019</c:v>
                </c:pt>
                <c:pt idx="119">
                  <c:v>16220</c:v>
                </c:pt>
                <c:pt idx="120">
                  <c:v>21846</c:v>
                </c:pt>
                <c:pt idx="121">
                  <c:v>21041</c:v>
                </c:pt>
                <c:pt idx="122">
                  <c:v>6675</c:v>
                </c:pt>
                <c:pt idx="123">
                  <c:v>5716</c:v>
                </c:pt>
                <c:pt idx="124">
                  <c:v>21266</c:v>
                </c:pt>
                <c:pt idx="125">
                  <c:v>17224</c:v>
                </c:pt>
                <c:pt idx="126">
                  <c:v>19350</c:v>
                </c:pt>
                <c:pt idx="127">
                  <c:v>17344</c:v>
                </c:pt>
                <c:pt idx="128">
                  <c:v>16412</c:v>
                </c:pt>
                <c:pt idx="129">
                  <c:v>4630</c:v>
                </c:pt>
                <c:pt idx="130">
                  <c:v>3905</c:v>
                </c:pt>
                <c:pt idx="131">
                  <c:v>11230</c:v>
                </c:pt>
                <c:pt idx="132">
                  <c:v>11016</c:v>
                </c:pt>
                <c:pt idx="133">
                  <c:v>9442</c:v>
                </c:pt>
                <c:pt idx="134">
                  <c:v>8703</c:v>
                </c:pt>
                <c:pt idx="135">
                  <c:v>7655</c:v>
                </c:pt>
                <c:pt idx="136">
                  <c:v>2563</c:v>
                </c:pt>
                <c:pt idx="137">
                  <c:v>1961</c:v>
                </c:pt>
                <c:pt idx="138">
                  <c:v>5053</c:v>
                </c:pt>
                <c:pt idx="139">
                  <c:v>5195</c:v>
                </c:pt>
                <c:pt idx="140">
                  <c:v>4869</c:v>
                </c:pt>
                <c:pt idx="141">
                  <c:v>4663</c:v>
                </c:pt>
                <c:pt idx="142">
                  <c:v>3904</c:v>
                </c:pt>
                <c:pt idx="143">
                  <c:v>1893</c:v>
                </c:pt>
                <c:pt idx="144">
                  <c:v>1289</c:v>
                </c:pt>
                <c:pt idx="145">
                  <c:v>2660</c:v>
                </c:pt>
                <c:pt idx="146">
                  <c:v>2953</c:v>
                </c:pt>
                <c:pt idx="147">
                  <c:v>3693</c:v>
                </c:pt>
                <c:pt idx="148">
                  <c:v>3259</c:v>
                </c:pt>
                <c:pt idx="149">
                  <c:v>2861</c:v>
                </c:pt>
                <c:pt idx="150">
                  <c:v>997</c:v>
                </c:pt>
                <c:pt idx="151">
                  <c:v>708</c:v>
                </c:pt>
                <c:pt idx="152">
                  <c:v>2208</c:v>
                </c:pt>
                <c:pt idx="153">
                  <c:v>2534</c:v>
                </c:pt>
                <c:pt idx="154">
                  <c:v>2711</c:v>
                </c:pt>
                <c:pt idx="155">
                  <c:v>2636</c:v>
                </c:pt>
                <c:pt idx="156">
                  <c:v>2383</c:v>
                </c:pt>
                <c:pt idx="157">
                  <c:v>896</c:v>
                </c:pt>
                <c:pt idx="158">
                  <c:v>551</c:v>
                </c:pt>
                <c:pt idx="159">
                  <c:v>2133</c:v>
                </c:pt>
                <c:pt idx="160">
                  <c:v>2296</c:v>
                </c:pt>
                <c:pt idx="161">
                  <c:v>1682</c:v>
                </c:pt>
                <c:pt idx="162">
                  <c:v>1584</c:v>
                </c:pt>
                <c:pt idx="163">
                  <c:v>1584</c:v>
                </c:pt>
                <c:pt idx="164">
                  <c:v>1584</c:v>
                </c:pt>
                <c:pt idx="165">
                  <c:v>1584</c:v>
                </c:pt>
                <c:pt idx="166">
                  <c:v>1584</c:v>
                </c:pt>
                <c:pt idx="167">
                  <c:v>1584</c:v>
                </c:pt>
                <c:pt idx="168">
                  <c:v>1584</c:v>
                </c:pt>
                <c:pt idx="169">
                  <c:v>1584</c:v>
                </c:pt>
                <c:pt idx="170">
                  <c:v>1584</c:v>
                </c:pt>
                <c:pt idx="171">
                  <c:v>1584</c:v>
                </c:pt>
                <c:pt idx="172">
                  <c:v>1584</c:v>
                </c:pt>
                <c:pt idx="173">
                  <c:v>1584</c:v>
                </c:pt>
                <c:pt idx="174">
                  <c:v>1584</c:v>
                </c:pt>
                <c:pt idx="175">
                  <c:v>1584</c:v>
                </c:pt>
                <c:pt idx="176">
                  <c:v>1584</c:v>
                </c:pt>
                <c:pt idx="177">
                  <c:v>1584</c:v>
                </c:pt>
                <c:pt idx="178">
                  <c:v>1584</c:v>
                </c:pt>
                <c:pt idx="179">
                  <c:v>1584</c:v>
                </c:pt>
                <c:pt idx="180">
                  <c:v>1584</c:v>
                </c:pt>
                <c:pt idx="181">
                  <c:v>1584</c:v>
                </c:pt>
                <c:pt idx="182">
                  <c:v>1584</c:v>
                </c:pt>
                <c:pt idx="183">
                  <c:v>2376</c:v>
                </c:pt>
                <c:pt idx="184">
                  <c:v>2376</c:v>
                </c:pt>
                <c:pt idx="185">
                  <c:v>2376</c:v>
                </c:pt>
                <c:pt idx="186">
                  <c:v>2376</c:v>
                </c:pt>
                <c:pt idx="187">
                  <c:v>2376</c:v>
                </c:pt>
                <c:pt idx="188">
                  <c:v>2376</c:v>
                </c:pt>
                <c:pt idx="189">
                  <c:v>2376</c:v>
                </c:pt>
                <c:pt idx="190">
                  <c:v>2376</c:v>
                </c:pt>
                <c:pt idx="191">
                  <c:v>2376</c:v>
                </c:pt>
                <c:pt idx="192">
                  <c:v>2376</c:v>
                </c:pt>
                <c:pt idx="193">
                  <c:v>2376</c:v>
                </c:pt>
                <c:pt idx="194">
                  <c:v>2376</c:v>
                </c:pt>
                <c:pt idx="195">
                  <c:v>2376</c:v>
                </c:pt>
                <c:pt idx="196">
                  <c:v>2376</c:v>
                </c:pt>
                <c:pt idx="197">
                  <c:v>2376</c:v>
                </c:pt>
                <c:pt idx="198">
                  <c:v>2376</c:v>
                </c:pt>
                <c:pt idx="199">
                  <c:v>2376</c:v>
                </c:pt>
                <c:pt idx="200">
                  <c:v>2376</c:v>
                </c:pt>
                <c:pt idx="201">
                  <c:v>2376</c:v>
                </c:pt>
                <c:pt idx="202">
                  <c:v>2376</c:v>
                </c:pt>
                <c:pt idx="203">
                  <c:v>2376</c:v>
                </c:pt>
                <c:pt idx="204">
                  <c:v>2376</c:v>
                </c:pt>
                <c:pt idx="205">
                  <c:v>2376</c:v>
                </c:pt>
                <c:pt idx="206">
                  <c:v>2376</c:v>
                </c:pt>
                <c:pt idx="207">
                  <c:v>2376</c:v>
                </c:pt>
                <c:pt idx="208">
                  <c:v>2376</c:v>
                </c:pt>
                <c:pt idx="209">
                  <c:v>2376</c:v>
                </c:pt>
                <c:pt idx="210">
                  <c:v>2376</c:v>
                </c:pt>
                <c:pt idx="211">
                  <c:v>2376</c:v>
                </c:pt>
                <c:pt idx="212">
                  <c:v>2376</c:v>
                </c:pt>
                <c:pt idx="213">
                  <c:v>2376</c:v>
                </c:pt>
                <c:pt idx="214">
                  <c:v>9108</c:v>
                </c:pt>
                <c:pt idx="215">
                  <c:v>9108</c:v>
                </c:pt>
                <c:pt idx="216">
                  <c:v>9108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F267-42C6-AC42-927B0F02AEC7}"/>
            </c:ext>
          </c:extLst>
        </c:ser>
        <c:ser>
          <c:idx val="10"/>
          <c:order val="10"/>
          <c:tx>
            <c:strRef>
              <c:f>List1!$L$1</c:f>
              <c:strCache>
                <c:ptCount val="1"/>
                <c:pt idx="0">
                  <c:v>14 65-69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L$5:$L$249</c:f>
              <c:numCache>
                <c:formatCode>General</c:formatCode>
                <c:ptCount val="245"/>
                <c:pt idx="0">
                  <c:v>164</c:v>
                </c:pt>
                <c:pt idx="1">
                  <c:v>61</c:v>
                </c:pt>
                <c:pt idx="2">
                  <c:v>12</c:v>
                </c:pt>
                <c:pt idx="3">
                  <c:v>50</c:v>
                </c:pt>
                <c:pt idx="4">
                  <c:v>42</c:v>
                </c:pt>
                <c:pt idx="5">
                  <c:v>194</c:v>
                </c:pt>
                <c:pt idx="6">
                  <c:v>225</c:v>
                </c:pt>
                <c:pt idx="7">
                  <c:v>284</c:v>
                </c:pt>
                <c:pt idx="8">
                  <c:v>373</c:v>
                </c:pt>
                <c:pt idx="9">
                  <c:v>450</c:v>
                </c:pt>
                <c:pt idx="10">
                  <c:v>147</c:v>
                </c:pt>
                <c:pt idx="11">
                  <c:v>131</c:v>
                </c:pt>
                <c:pt idx="12">
                  <c:v>462</c:v>
                </c:pt>
                <c:pt idx="13">
                  <c:v>706</c:v>
                </c:pt>
                <c:pt idx="14">
                  <c:v>755</c:v>
                </c:pt>
                <c:pt idx="15">
                  <c:v>878</c:v>
                </c:pt>
                <c:pt idx="16">
                  <c:v>815</c:v>
                </c:pt>
                <c:pt idx="17">
                  <c:v>166</c:v>
                </c:pt>
                <c:pt idx="18">
                  <c:v>85</c:v>
                </c:pt>
                <c:pt idx="19">
                  <c:v>595</c:v>
                </c:pt>
                <c:pt idx="20">
                  <c:v>573</c:v>
                </c:pt>
                <c:pt idx="21">
                  <c:v>560</c:v>
                </c:pt>
                <c:pt idx="22">
                  <c:v>572</c:v>
                </c:pt>
                <c:pt idx="23">
                  <c:v>434</c:v>
                </c:pt>
                <c:pt idx="24">
                  <c:v>63</c:v>
                </c:pt>
                <c:pt idx="25">
                  <c:v>44</c:v>
                </c:pt>
                <c:pt idx="26">
                  <c:v>264</c:v>
                </c:pt>
                <c:pt idx="27">
                  <c:v>394</c:v>
                </c:pt>
                <c:pt idx="28">
                  <c:v>248</c:v>
                </c:pt>
                <c:pt idx="29">
                  <c:v>210</c:v>
                </c:pt>
                <c:pt idx="30">
                  <c:v>179</c:v>
                </c:pt>
                <c:pt idx="31">
                  <c:v>27</c:v>
                </c:pt>
                <c:pt idx="32">
                  <c:v>9</c:v>
                </c:pt>
                <c:pt idx="33">
                  <c:v>114</c:v>
                </c:pt>
                <c:pt idx="34">
                  <c:v>138</c:v>
                </c:pt>
                <c:pt idx="35">
                  <c:v>144</c:v>
                </c:pt>
                <c:pt idx="36">
                  <c:v>146</c:v>
                </c:pt>
                <c:pt idx="37">
                  <c:v>158</c:v>
                </c:pt>
                <c:pt idx="38">
                  <c:v>10</c:v>
                </c:pt>
                <c:pt idx="39">
                  <c:v>6</c:v>
                </c:pt>
                <c:pt idx="40">
                  <c:v>85</c:v>
                </c:pt>
                <c:pt idx="41">
                  <c:v>145</c:v>
                </c:pt>
                <c:pt idx="42">
                  <c:v>147</c:v>
                </c:pt>
                <c:pt idx="43">
                  <c:v>238</c:v>
                </c:pt>
                <c:pt idx="44">
                  <c:v>253</c:v>
                </c:pt>
                <c:pt idx="45">
                  <c:v>42</c:v>
                </c:pt>
                <c:pt idx="46">
                  <c:v>32</c:v>
                </c:pt>
                <c:pt idx="47">
                  <c:v>197</c:v>
                </c:pt>
                <c:pt idx="48">
                  <c:v>245</c:v>
                </c:pt>
                <c:pt idx="49">
                  <c:v>298</c:v>
                </c:pt>
                <c:pt idx="50">
                  <c:v>445</c:v>
                </c:pt>
                <c:pt idx="51">
                  <c:v>370</c:v>
                </c:pt>
                <c:pt idx="52">
                  <c:v>66</c:v>
                </c:pt>
                <c:pt idx="53">
                  <c:v>23</c:v>
                </c:pt>
                <c:pt idx="54">
                  <c:v>297</c:v>
                </c:pt>
                <c:pt idx="55">
                  <c:v>384</c:v>
                </c:pt>
                <c:pt idx="56">
                  <c:v>525</c:v>
                </c:pt>
                <c:pt idx="57">
                  <c:v>628</c:v>
                </c:pt>
                <c:pt idx="58">
                  <c:v>670</c:v>
                </c:pt>
                <c:pt idx="59">
                  <c:v>64</c:v>
                </c:pt>
                <c:pt idx="60">
                  <c:v>64</c:v>
                </c:pt>
                <c:pt idx="61">
                  <c:v>946</c:v>
                </c:pt>
                <c:pt idx="62">
                  <c:v>1427</c:v>
                </c:pt>
                <c:pt idx="63">
                  <c:v>1508</c:v>
                </c:pt>
                <c:pt idx="64">
                  <c:v>1623</c:v>
                </c:pt>
                <c:pt idx="65">
                  <c:v>1216</c:v>
                </c:pt>
                <c:pt idx="66">
                  <c:v>574</c:v>
                </c:pt>
                <c:pt idx="67">
                  <c:v>638</c:v>
                </c:pt>
                <c:pt idx="68">
                  <c:v>1052</c:v>
                </c:pt>
                <c:pt idx="69">
                  <c:v>1238</c:v>
                </c:pt>
                <c:pt idx="70">
                  <c:v>1294</c:v>
                </c:pt>
                <c:pt idx="71">
                  <c:v>1442</c:v>
                </c:pt>
                <c:pt idx="72">
                  <c:v>1511</c:v>
                </c:pt>
                <c:pt idx="73">
                  <c:v>416</c:v>
                </c:pt>
                <c:pt idx="74">
                  <c:v>269</c:v>
                </c:pt>
                <c:pt idx="75">
                  <c:v>1025</c:v>
                </c:pt>
                <c:pt idx="76">
                  <c:v>1427</c:v>
                </c:pt>
                <c:pt idx="77">
                  <c:v>1396</c:v>
                </c:pt>
                <c:pt idx="78">
                  <c:v>1481</c:v>
                </c:pt>
                <c:pt idx="79">
                  <c:v>1599</c:v>
                </c:pt>
                <c:pt idx="80">
                  <c:v>426</c:v>
                </c:pt>
                <c:pt idx="81">
                  <c:v>142</c:v>
                </c:pt>
                <c:pt idx="82">
                  <c:v>1165</c:v>
                </c:pt>
                <c:pt idx="83">
                  <c:v>1382</c:v>
                </c:pt>
                <c:pt idx="84">
                  <c:v>1589</c:v>
                </c:pt>
                <c:pt idx="85">
                  <c:v>1540</c:v>
                </c:pt>
                <c:pt idx="86">
                  <c:v>1761</c:v>
                </c:pt>
                <c:pt idx="87">
                  <c:v>420</c:v>
                </c:pt>
                <c:pt idx="88">
                  <c:v>504</c:v>
                </c:pt>
                <c:pt idx="89">
                  <c:v>1870</c:v>
                </c:pt>
                <c:pt idx="90">
                  <c:v>2052</c:v>
                </c:pt>
                <c:pt idx="91">
                  <c:v>2109</c:v>
                </c:pt>
                <c:pt idx="92">
                  <c:v>2342</c:v>
                </c:pt>
                <c:pt idx="93">
                  <c:v>706</c:v>
                </c:pt>
                <c:pt idx="94">
                  <c:v>338</c:v>
                </c:pt>
                <c:pt idx="95">
                  <c:v>184</c:v>
                </c:pt>
                <c:pt idx="96">
                  <c:v>176</c:v>
                </c:pt>
                <c:pt idx="97">
                  <c:v>1506</c:v>
                </c:pt>
                <c:pt idx="98">
                  <c:v>2326</c:v>
                </c:pt>
                <c:pt idx="99">
                  <c:v>3835</c:v>
                </c:pt>
                <c:pt idx="100">
                  <c:v>3995</c:v>
                </c:pt>
                <c:pt idx="101">
                  <c:v>1611</c:v>
                </c:pt>
                <c:pt idx="102">
                  <c:v>842</c:v>
                </c:pt>
                <c:pt idx="103">
                  <c:v>4781</c:v>
                </c:pt>
                <c:pt idx="104">
                  <c:v>4707</c:v>
                </c:pt>
                <c:pt idx="105">
                  <c:v>6139</c:v>
                </c:pt>
                <c:pt idx="106">
                  <c:v>9868</c:v>
                </c:pt>
                <c:pt idx="107">
                  <c:v>8477</c:v>
                </c:pt>
                <c:pt idx="108">
                  <c:v>4122</c:v>
                </c:pt>
                <c:pt idx="109">
                  <c:v>2487</c:v>
                </c:pt>
                <c:pt idx="110">
                  <c:v>14637</c:v>
                </c:pt>
                <c:pt idx="111">
                  <c:v>15136</c:v>
                </c:pt>
                <c:pt idx="112">
                  <c:v>20772</c:v>
                </c:pt>
                <c:pt idx="113">
                  <c:v>24603</c:v>
                </c:pt>
                <c:pt idx="114">
                  <c:v>19297</c:v>
                </c:pt>
                <c:pt idx="115">
                  <c:v>7905</c:v>
                </c:pt>
                <c:pt idx="116">
                  <c:v>6170</c:v>
                </c:pt>
                <c:pt idx="117">
                  <c:v>22914</c:v>
                </c:pt>
                <c:pt idx="118">
                  <c:v>19891</c:v>
                </c:pt>
                <c:pt idx="119">
                  <c:v>22724</c:v>
                </c:pt>
                <c:pt idx="120">
                  <c:v>19857</c:v>
                </c:pt>
                <c:pt idx="121">
                  <c:v>14944</c:v>
                </c:pt>
                <c:pt idx="122">
                  <c:v>3508</c:v>
                </c:pt>
                <c:pt idx="123">
                  <c:v>4537</c:v>
                </c:pt>
                <c:pt idx="124">
                  <c:v>12492</c:v>
                </c:pt>
                <c:pt idx="125">
                  <c:v>11780</c:v>
                </c:pt>
                <c:pt idx="126">
                  <c:v>11741</c:v>
                </c:pt>
                <c:pt idx="127">
                  <c:v>11532</c:v>
                </c:pt>
                <c:pt idx="128">
                  <c:v>8930</c:v>
                </c:pt>
                <c:pt idx="129">
                  <c:v>3191</c:v>
                </c:pt>
                <c:pt idx="130">
                  <c:v>2462</c:v>
                </c:pt>
                <c:pt idx="131">
                  <c:v>7806</c:v>
                </c:pt>
                <c:pt idx="132">
                  <c:v>8584</c:v>
                </c:pt>
                <c:pt idx="133">
                  <c:v>7749</c:v>
                </c:pt>
                <c:pt idx="134">
                  <c:v>7092</c:v>
                </c:pt>
                <c:pt idx="135">
                  <c:v>4981</c:v>
                </c:pt>
                <c:pt idx="136">
                  <c:v>2189</c:v>
                </c:pt>
                <c:pt idx="137">
                  <c:v>1678</c:v>
                </c:pt>
                <c:pt idx="138">
                  <c:v>4756</c:v>
                </c:pt>
                <c:pt idx="139">
                  <c:v>4899</c:v>
                </c:pt>
                <c:pt idx="140">
                  <c:v>4780</c:v>
                </c:pt>
                <c:pt idx="141">
                  <c:v>4499</c:v>
                </c:pt>
                <c:pt idx="142">
                  <c:v>3206</c:v>
                </c:pt>
                <c:pt idx="143">
                  <c:v>1418</c:v>
                </c:pt>
                <c:pt idx="144">
                  <c:v>967</c:v>
                </c:pt>
                <c:pt idx="145">
                  <c:v>2465</c:v>
                </c:pt>
                <c:pt idx="146">
                  <c:v>2737</c:v>
                </c:pt>
                <c:pt idx="147">
                  <c:v>3424</c:v>
                </c:pt>
                <c:pt idx="148">
                  <c:v>3225</c:v>
                </c:pt>
                <c:pt idx="149">
                  <c:v>2269</c:v>
                </c:pt>
                <c:pt idx="150">
                  <c:v>889</c:v>
                </c:pt>
                <c:pt idx="151">
                  <c:v>584</c:v>
                </c:pt>
                <c:pt idx="152">
                  <c:v>2019</c:v>
                </c:pt>
                <c:pt idx="153">
                  <c:v>2403</c:v>
                </c:pt>
                <c:pt idx="154">
                  <c:v>2574</c:v>
                </c:pt>
                <c:pt idx="155">
                  <c:v>2436</c:v>
                </c:pt>
                <c:pt idx="156">
                  <c:v>1743</c:v>
                </c:pt>
                <c:pt idx="157">
                  <c:v>802</c:v>
                </c:pt>
                <c:pt idx="158">
                  <c:v>482</c:v>
                </c:pt>
                <c:pt idx="159">
                  <c:v>1986</c:v>
                </c:pt>
                <c:pt idx="160">
                  <c:v>2036</c:v>
                </c:pt>
                <c:pt idx="161">
                  <c:v>1631</c:v>
                </c:pt>
                <c:pt idx="162">
                  <c:v>1431</c:v>
                </c:pt>
                <c:pt idx="163">
                  <c:v>1431</c:v>
                </c:pt>
                <c:pt idx="164">
                  <c:v>1431</c:v>
                </c:pt>
                <c:pt idx="165">
                  <c:v>1431</c:v>
                </c:pt>
                <c:pt idx="166">
                  <c:v>1431</c:v>
                </c:pt>
                <c:pt idx="167">
                  <c:v>1431</c:v>
                </c:pt>
                <c:pt idx="168">
                  <c:v>1431</c:v>
                </c:pt>
                <c:pt idx="169">
                  <c:v>1431</c:v>
                </c:pt>
                <c:pt idx="170">
                  <c:v>1431</c:v>
                </c:pt>
                <c:pt idx="171">
                  <c:v>1431</c:v>
                </c:pt>
                <c:pt idx="172">
                  <c:v>1431</c:v>
                </c:pt>
                <c:pt idx="173">
                  <c:v>1431</c:v>
                </c:pt>
                <c:pt idx="174">
                  <c:v>1431</c:v>
                </c:pt>
                <c:pt idx="175">
                  <c:v>1431</c:v>
                </c:pt>
                <c:pt idx="176">
                  <c:v>1431</c:v>
                </c:pt>
                <c:pt idx="177">
                  <c:v>1431</c:v>
                </c:pt>
                <c:pt idx="178">
                  <c:v>1431</c:v>
                </c:pt>
                <c:pt idx="179">
                  <c:v>1431</c:v>
                </c:pt>
                <c:pt idx="180">
                  <c:v>1431</c:v>
                </c:pt>
                <c:pt idx="181">
                  <c:v>1431</c:v>
                </c:pt>
                <c:pt idx="182">
                  <c:v>1431</c:v>
                </c:pt>
                <c:pt idx="183">
                  <c:v>2146</c:v>
                </c:pt>
                <c:pt idx="184">
                  <c:v>2146</c:v>
                </c:pt>
                <c:pt idx="185">
                  <c:v>2146</c:v>
                </c:pt>
                <c:pt idx="186">
                  <c:v>2146</c:v>
                </c:pt>
                <c:pt idx="187">
                  <c:v>2146</c:v>
                </c:pt>
                <c:pt idx="188">
                  <c:v>2146</c:v>
                </c:pt>
                <c:pt idx="189">
                  <c:v>2146</c:v>
                </c:pt>
                <c:pt idx="190">
                  <c:v>2146</c:v>
                </c:pt>
                <c:pt idx="191">
                  <c:v>2146</c:v>
                </c:pt>
                <c:pt idx="192">
                  <c:v>2146</c:v>
                </c:pt>
                <c:pt idx="193">
                  <c:v>2146</c:v>
                </c:pt>
                <c:pt idx="194">
                  <c:v>2146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F267-42C6-AC42-927B0F02AEC7}"/>
            </c:ext>
          </c:extLst>
        </c:ser>
        <c:ser>
          <c:idx val="11"/>
          <c:order val="11"/>
          <c:tx>
            <c:strRef>
              <c:f>List1!$M$1</c:f>
              <c:strCache>
                <c:ptCount val="1"/>
                <c:pt idx="0">
                  <c:v>15 70-74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M$5:$M$249</c:f>
              <c:numCache>
                <c:formatCode>General</c:formatCode>
                <c:ptCount val="245"/>
                <c:pt idx="0">
                  <c:v>93</c:v>
                </c:pt>
                <c:pt idx="1">
                  <c:v>54</c:v>
                </c:pt>
                <c:pt idx="2">
                  <c:v>6</c:v>
                </c:pt>
                <c:pt idx="3">
                  <c:v>25</c:v>
                </c:pt>
                <c:pt idx="4">
                  <c:v>21</c:v>
                </c:pt>
                <c:pt idx="5">
                  <c:v>96</c:v>
                </c:pt>
                <c:pt idx="6">
                  <c:v>99</c:v>
                </c:pt>
                <c:pt idx="7">
                  <c:v>165</c:v>
                </c:pt>
                <c:pt idx="8">
                  <c:v>258</c:v>
                </c:pt>
                <c:pt idx="9">
                  <c:v>290</c:v>
                </c:pt>
                <c:pt idx="10">
                  <c:v>108</c:v>
                </c:pt>
                <c:pt idx="11">
                  <c:v>89</c:v>
                </c:pt>
                <c:pt idx="12">
                  <c:v>263</c:v>
                </c:pt>
                <c:pt idx="13">
                  <c:v>461</c:v>
                </c:pt>
                <c:pt idx="14">
                  <c:v>663</c:v>
                </c:pt>
                <c:pt idx="15">
                  <c:v>748</c:v>
                </c:pt>
                <c:pt idx="16">
                  <c:v>650</c:v>
                </c:pt>
                <c:pt idx="17">
                  <c:v>162</c:v>
                </c:pt>
                <c:pt idx="18">
                  <c:v>78</c:v>
                </c:pt>
                <c:pt idx="19">
                  <c:v>468</c:v>
                </c:pt>
                <c:pt idx="20">
                  <c:v>450</c:v>
                </c:pt>
                <c:pt idx="21">
                  <c:v>489</c:v>
                </c:pt>
                <c:pt idx="22">
                  <c:v>496</c:v>
                </c:pt>
                <c:pt idx="23">
                  <c:v>412</c:v>
                </c:pt>
                <c:pt idx="24">
                  <c:v>83</c:v>
                </c:pt>
                <c:pt idx="25">
                  <c:v>42</c:v>
                </c:pt>
                <c:pt idx="26">
                  <c:v>223</c:v>
                </c:pt>
                <c:pt idx="27">
                  <c:v>238</c:v>
                </c:pt>
                <c:pt idx="28">
                  <c:v>230</c:v>
                </c:pt>
                <c:pt idx="29">
                  <c:v>182</c:v>
                </c:pt>
                <c:pt idx="30">
                  <c:v>117</c:v>
                </c:pt>
                <c:pt idx="31">
                  <c:v>13</c:v>
                </c:pt>
                <c:pt idx="32">
                  <c:v>17</c:v>
                </c:pt>
                <c:pt idx="33">
                  <c:v>110</c:v>
                </c:pt>
                <c:pt idx="34">
                  <c:v>119</c:v>
                </c:pt>
                <c:pt idx="35">
                  <c:v>125</c:v>
                </c:pt>
                <c:pt idx="36">
                  <c:v>132</c:v>
                </c:pt>
                <c:pt idx="37">
                  <c:v>162</c:v>
                </c:pt>
                <c:pt idx="38">
                  <c:v>13</c:v>
                </c:pt>
                <c:pt idx="39">
                  <c:v>19</c:v>
                </c:pt>
                <c:pt idx="40">
                  <c:v>111</c:v>
                </c:pt>
                <c:pt idx="41">
                  <c:v>151</c:v>
                </c:pt>
                <c:pt idx="42">
                  <c:v>127</c:v>
                </c:pt>
                <c:pt idx="43">
                  <c:v>245</c:v>
                </c:pt>
                <c:pt idx="44">
                  <c:v>253</c:v>
                </c:pt>
                <c:pt idx="45">
                  <c:v>41</c:v>
                </c:pt>
                <c:pt idx="46">
                  <c:v>19</c:v>
                </c:pt>
                <c:pt idx="47">
                  <c:v>203</c:v>
                </c:pt>
                <c:pt idx="48">
                  <c:v>265</c:v>
                </c:pt>
                <c:pt idx="49">
                  <c:v>316</c:v>
                </c:pt>
                <c:pt idx="50">
                  <c:v>426</c:v>
                </c:pt>
                <c:pt idx="51">
                  <c:v>347</c:v>
                </c:pt>
                <c:pt idx="52">
                  <c:v>61</c:v>
                </c:pt>
                <c:pt idx="53">
                  <c:v>16</c:v>
                </c:pt>
                <c:pt idx="54">
                  <c:v>272</c:v>
                </c:pt>
                <c:pt idx="55">
                  <c:v>318</c:v>
                </c:pt>
                <c:pt idx="56">
                  <c:v>496</c:v>
                </c:pt>
                <c:pt idx="57">
                  <c:v>671</c:v>
                </c:pt>
                <c:pt idx="58">
                  <c:v>866</c:v>
                </c:pt>
                <c:pt idx="59">
                  <c:v>149</c:v>
                </c:pt>
                <c:pt idx="60">
                  <c:v>66</c:v>
                </c:pt>
                <c:pt idx="61">
                  <c:v>1288</c:v>
                </c:pt>
                <c:pt idx="62">
                  <c:v>2316</c:v>
                </c:pt>
                <c:pt idx="63">
                  <c:v>3222</c:v>
                </c:pt>
                <c:pt idx="64">
                  <c:v>3765</c:v>
                </c:pt>
                <c:pt idx="65">
                  <c:v>3722</c:v>
                </c:pt>
                <c:pt idx="66">
                  <c:v>2220</c:v>
                </c:pt>
                <c:pt idx="67">
                  <c:v>2360</c:v>
                </c:pt>
                <c:pt idx="68">
                  <c:v>5208</c:v>
                </c:pt>
                <c:pt idx="69">
                  <c:v>6094</c:v>
                </c:pt>
                <c:pt idx="70">
                  <c:v>8630</c:v>
                </c:pt>
                <c:pt idx="71">
                  <c:v>10246</c:v>
                </c:pt>
                <c:pt idx="72">
                  <c:v>9959</c:v>
                </c:pt>
                <c:pt idx="73">
                  <c:v>4627</c:v>
                </c:pt>
                <c:pt idx="74">
                  <c:v>2892</c:v>
                </c:pt>
                <c:pt idx="75">
                  <c:v>8922</c:v>
                </c:pt>
                <c:pt idx="76">
                  <c:v>11363</c:v>
                </c:pt>
                <c:pt idx="77">
                  <c:v>12428</c:v>
                </c:pt>
                <c:pt idx="78">
                  <c:v>12804</c:v>
                </c:pt>
                <c:pt idx="79">
                  <c:v>10063</c:v>
                </c:pt>
                <c:pt idx="80">
                  <c:v>4626</c:v>
                </c:pt>
                <c:pt idx="81">
                  <c:v>2242</c:v>
                </c:pt>
                <c:pt idx="82">
                  <c:v>8118</c:v>
                </c:pt>
                <c:pt idx="83">
                  <c:v>9005</c:v>
                </c:pt>
                <c:pt idx="84">
                  <c:v>9084</c:v>
                </c:pt>
                <c:pt idx="85">
                  <c:v>8392</c:v>
                </c:pt>
                <c:pt idx="86">
                  <c:v>6426</c:v>
                </c:pt>
                <c:pt idx="87">
                  <c:v>2739</c:v>
                </c:pt>
                <c:pt idx="88">
                  <c:v>1621</c:v>
                </c:pt>
                <c:pt idx="89">
                  <c:v>5490</c:v>
                </c:pt>
                <c:pt idx="90">
                  <c:v>7144</c:v>
                </c:pt>
                <c:pt idx="91">
                  <c:v>6406</c:v>
                </c:pt>
                <c:pt idx="92">
                  <c:v>7679</c:v>
                </c:pt>
                <c:pt idx="93">
                  <c:v>1603</c:v>
                </c:pt>
                <c:pt idx="94">
                  <c:v>966</c:v>
                </c:pt>
                <c:pt idx="95">
                  <c:v>898</c:v>
                </c:pt>
                <c:pt idx="96">
                  <c:v>846</c:v>
                </c:pt>
                <c:pt idx="97">
                  <c:v>5203</c:v>
                </c:pt>
                <c:pt idx="98">
                  <c:v>7013</c:v>
                </c:pt>
                <c:pt idx="99">
                  <c:v>13137</c:v>
                </c:pt>
                <c:pt idx="100">
                  <c:v>12586</c:v>
                </c:pt>
                <c:pt idx="101">
                  <c:v>5313</c:v>
                </c:pt>
                <c:pt idx="102">
                  <c:v>4180</c:v>
                </c:pt>
                <c:pt idx="103">
                  <c:v>14580</c:v>
                </c:pt>
                <c:pt idx="104">
                  <c:v>13094</c:v>
                </c:pt>
                <c:pt idx="105">
                  <c:v>14565</c:v>
                </c:pt>
                <c:pt idx="106">
                  <c:v>15864</c:v>
                </c:pt>
                <c:pt idx="107">
                  <c:v>12372</c:v>
                </c:pt>
                <c:pt idx="108">
                  <c:v>4074</c:v>
                </c:pt>
                <c:pt idx="109">
                  <c:v>3849</c:v>
                </c:pt>
                <c:pt idx="110">
                  <c:v>9778</c:v>
                </c:pt>
                <c:pt idx="111">
                  <c:v>8457</c:v>
                </c:pt>
                <c:pt idx="112">
                  <c:v>7568</c:v>
                </c:pt>
                <c:pt idx="113">
                  <c:v>8378</c:v>
                </c:pt>
                <c:pt idx="114">
                  <c:v>6635</c:v>
                </c:pt>
                <c:pt idx="115">
                  <c:v>2173</c:v>
                </c:pt>
                <c:pt idx="116">
                  <c:v>1561</c:v>
                </c:pt>
                <c:pt idx="117">
                  <c:v>5613</c:v>
                </c:pt>
                <c:pt idx="118">
                  <c:v>5269</c:v>
                </c:pt>
                <c:pt idx="119">
                  <c:v>5600</c:v>
                </c:pt>
                <c:pt idx="120">
                  <c:v>5436</c:v>
                </c:pt>
                <c:pt idx="121">
                  <c:v>4336</c:v>
                </c:pt>
                <c:pt idx="122">
                  <c:v>1160</c:v>
                </c:pt>
                <c:pt idx="123">
                  <c:v>980</c:v>
                </c:pt>
                <c:pt idx="124">
                  <c:v>3848</c:v>
                </c:pt>
                <c:pt idx="125">
                  <c:v>4262</c:v>
                </c:pt>
                <c:pt idx="126">
                  <c:v>4493</c:v>
                </c:pt>
                <c:pt idx="127">
                  <c:v>4671</c:v>
                </c:pt>
                <c:pt idx="128">
                  <c:v>3552</c:v>
                </c:pt>
                <c:pt idx="129">
                  <c:v>1240</c:v>
                </c:pt>
                <c:pt idx="130">
                  <c:v>987</c:v>
                </c:pt>
                <c:pt idx="131">
                  <c:v>3376</c:v>
                </c:pt>
                <c:pt idx="132">
                  <c:v>3645</c:v>
                </c:pt>
                <c:pt idx="133">
                  <c:v>3302</c:v>
                </c:pt>
                <c:pt idx="134">
                  <c:v>3308</c:v>
                </c:pt>
                <c:pt idx="135">
                  <c:v>2187</c:v>
                </c:pt>
                <c:pt idx="136">
                  <c:v>927</c:v>
                </c:pt>
                <c:pt idx="137">
                  <c:v>763</c:v>
                </c:pt>
                <c:pt idx="138">
                  <c:v>1983</c:v>
                </c:pt>
                <c:pt idx="139">
                  <c:v>2378</c:v>
                </c:pt>
                <c:pt idx="140">
                  <c:v>2383</c:v>
                </c:pt>
                <c:pt idx="141">
                  <c:v>2267</c:v>
                </c:pt>
                <c:pt idx="142">
                  <c:v>1621</c:v>
                </c:pt>
                <c:pt idx="143">
                  <c:v>734</c:v>
                </c:pt>
                <c:pt idx="144">
                  <c:v>481</c:v>
                </c:pt>
                <c:pt idx="145">
                  <c:v>1325</c:v>
                </c:pt>
                <c:pt idx="146">
                  <c:v>1594</c:v>
                </c:pt>
                <c:pt idx="147">
                  <c:v>2007</c:v>
                </c:pt>
                <c:pt idx="148">
                  <c:v>1766</c:v>
                </c:pt>
                <c:pt idx="149">
                  <c:v>1309</c:v>
                </c:pt>
                <c:pt idx="150">
                  <c:v>457</c:v>
                </c:pt>
                <c:pt idx="151">
                  <c:v>294</c:v>
                </c:pt>
                <c:pt idx="152">
                  <c:v>1155</c:v>
                </c:pt>
                <c:pt idx="153">
                  <c:v>1399</c:v>
                </c:pt>
                <c:pt idx="154">
                  <c:v>1569</c:v>
                </c:pt>
                <c:pt idx="155">
                  <c:v>1533</c:v>
                </c:pt>
                <c:pt idx="156">
                  <c:v>1189</c:v>
                </c:pt>
                <c:pt idx="157">
                  <c:v>466</c:v>
                </c:pt>
                <c:pt idx="158">
                  <c:v>299</c:v>
                </c:pt>
                <c:pt idx="159">
                  <c:v>1196</c:v>
                </c:pt>
                <c:pt idx="160">
                  <c:v>1344</c:v>
                </c:pt>
                <c:pt idx="161">
                  <c:v>1106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F267-42C6-AC42-927B0F02AEC7}"/>
            </c:ext>
          </c:extLst>
        </c:ser>
        <c:ser>
          <c:idx val="12"/>
          <c:order val="12"/>
          <c:tx>
            <c:strRef>
              <c:f>List1!$N$1</c:f>
              <c:strCache>
                <c:ptCount val="1"/>
                <c:pt idx="0">
                  <c:v>16 75-79</c:v>
                </c:pt>
              </c:strCache>
            </c:strRef>
          </c:tx>
          <c:spPr>
            <a:solidFill>
              <a:schemeClr val="accent1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N$5:$N$249</c:f>
              <c:numCache>
                <c:formatCode>General</c:formatCode>
                <c:ptCount val="245"/>
                <c:pt idx="0">
                  <c:v>64</c:v>
                </c:pt>
                <c:pt idx="1">
                  <c:v>57</c:v>
                </c:pt>
                <c:pt idx="2">
                  <c:v>2</c:v>
                </c:pt>
                <c:pt idx="3">
                  <c:v>15</c:v>
                </c:pt>
                <c:pt idx="4">
                  <c:v>8</c:v>
                </c:pt>
                <c:pt idx="5">
                  <c:v>35</c:v>
                </c:pt>
                <c:pt idx="6">
                  <c:v>50</c:v>
                </c:pt>
                <c:pt idx="7">
                  <c:v>72</c:v>
                </c:pt>
                <c:pt idx="8">
                  <c:v>195</c:v>
                </c:pt>
                <c:pt idx="9">
                  <c:v>216</c:v>
                </c:pt>
                <c:pt idx="10">
                  <c:v>71</c:v>
                </c:pt>
                <c:pt idx="11">
                  <c:v>62</c:v>
                </c:pt>
                <c:pt idx="12">
                  <c:v>194</c:v>
                </c:pt>
                <c:pt idx="13">
                  <c:v>438</c:v>
                </c:pt>
                <c:pt idx="14">
                  <c:v>538</c:v>
                </c:pt>
                <c:pt idx="15">
                  <c:v>670</c:v>
                </c:pt>
                <c:pt idx="16">
                  <c:v>584</c:v>
                </c:pt>
                <c:pt idx="17">
                  <c:v>191</c:v>
                </c:pt>
                <c:pt idx="18">
                  <c:v>130</c:v>
                </c:pt>
                <c:pt idx="19">
                  <c:v>447</c:v>
                </c:pt>
                <c:pt idx="20">
                  <c:v>394</c:v>
                </c:pt>
                <c:pt idx="21">
                  <c:v>499</c:v>
                </c:pt>
                <c:pt idx="22">
                  <c:v>561</c:v>
                </c:pt>
                <c:pt idx="23">
                  <c:v>389</c:v>
                </c:pt>
                <c:pt idx="24">
                  <c:v>98</c:v>
                </c:pt>
                <c:pt idx="25">
                  <c:v>63</c:v>
                </c:pt>
                <c:pt idx="26">
                  <c:v>231</c:v>
                </c:pt>
                <c:pt idx="27">
                  <c:v>294</c:v>
                </c:pt>
                <c:pt idx="28">
                  <c:v>237</c:v>
                </c:pt>
                <c:pt idx="29">
                  <c:v>163</c:v>
                </c:pt>
                <c:pt idx="30">
                  <c:v>148</c:v>
                </c:pt>
                <c:pt idx="31">
                  <c:v>13</c:v>
                </c:pt>
                <c:pt idx="32">
                  <c:v>12</c:v>
                </c:pt>
                <c:pt idx="33">
                  <c:v>116</c:v>
                </c:pt>
                <c:pt idx="34">
                  <c:v>102</c:v>
                </c:pt>
                <c:pt idx="35">
                  <c:v>106</c:v>
                </c:pt>
                <c:pt idx="36">
                  <c:v>155</c:v>
                </c:pt>
                <c:pt idx="37">
                  <c:v>179</c:v>
                </c:pt>
                <c:pt idx="38">
                  <c:v>15</c:v>
                </c:pt>
                <c:pt idx="39">
                  <c:v>22</c:v>
                </c:pt>
                <c:pt idx="40">
                  <c:v>158</c:v>
                </c:pt>
                <c:pt idx="41">
                  <c:v>197</c:v>
                </c:pt>
                <c:pt idx="42">
                  <c:v>179</c:v>
                </c:pt>
                <c:pt idx="43">
                  <c:v>272</c:v>
                </c:pt>
                <c:pt idx="44">
                  <c:v>313</c:v>
                </c:pt>
                <c:pt idx="45">
                  <c:v>35</c:v>
                </c:pt>
                <c:pt idx="46">
                  <c:v>17</c:v>
                </c:pt>
                <c:pt idx="47">
                  <c:v>195</c:v>
                </c:pt>
                <c:pt idx="48">
                  <c:v>302</c:v>
                </c:pt>
                <c:pt idx="49">
                  <c:v>353</c:v>
                </c:pt>
                <c:pt idx="50">
                  <c:v>373</c:v>
                </c:pt>
                <c:pt idx="51">
                  <c:v>416</c:v>
                </c:pt>
                <c:pt idx="52">
                  <c:v>59</c:v>
                </c:pt>
                <c:pt idx="53">
                  <c:v>32</c:v>
                </c:pt>
                <c:pt idx="54">
                  <c:v>264</c:v>
                </c:pt>
                <c:pt idx="55">
                  <c:v>346</c:v>
                </c:pt>
                <c:pt idx="56">
                  <c:v>557</c:v>
                </c:pt>
                <c:pt idx="57">
                  <c:v>690</c:v>
                </c:pt>
                <c:pt idx="58">
                  <c:v>894</c:v>
                </c:pt>
                <c:pt idx="59">
                  <c:v>146</c:v>
                </c:pt>
                <c:pt idx="60">
                  <c:v>53</c:v>
                </c:pt>
                <c:pt idx="61">
                  <c:v>1203</c:v>
                </c:pt>
                <c:pt idx="62">
                  <c:v>2799</c:v>
                </c:pt>
                <c:pt idx="63">
                  <c:v>5616</c:v>
                </c:pt>
                <c:pt idx="64">
                  <c:v>8232</c:v>
                </c:pt>
                <c:pt idx="65">
                  <c:v>7794</c:v>
                </c:pt>
                <c:pt idx="66">
                  <c:v>2736</c:v>
                </c:pt>
                <c:pt idx="67">
                  <c:v>2232</c:v>
                </c:pt>
                <c:pt idx="68">
                  <c:v>8487</c:v>
                </c:pt>
                <c:pt idx="69">
                  <c:v>11023</c:v>
                </c:pt>
                <c:pt idx="70">
                  <c:v>13631</c:v>
                </c:pt>
                <c:pt idx="71">
                  <c:v>14072</c:v>
                </c:pt>
                <c:pt idx="72">
                  <c:v>11791</c:v>
                </c:pt>
                <c:pt idx="73">
                  <c:v>5753</c:v>
                </c:pt>
                <c:pt idx="74">
                  <c:v>4662</c:v>
                </c:pt>
                <c:pt idx="75">
                  <c:v>8384</c:v>
                </c:pt>
                <c:pt idx="76">
                  <c:v>10855</c:v>
                </c:pt>
                <c:pt idx="77">
                  <c:v>10180</c:v>
                </c:pt>
                <c:pt idx="78">
                  <c:v>10271</c:v>
                </c:pt>
                <c:pt idx="79">
                  <c:v>8656</c:v>
                </c:pt>
                <c:pt idx="80">
                  <c:v>4591</c:v>
                </c:pt>
                <c:pt idx="81">
                  <c:v>2538</c:v>
                </c:pt>
                <c:pt idx="82">
                  <c:v>6376</c:v>
                </c:pt>
                <c:pt idx="83">
                  <c:v>6525</c:v>
                </c:pt>
                <c:pt idx="84">
                  <c:v>6371</c:v>
                </c:pt>
                <c:pt idx="85">
                  <c:v>6398</c:v>
                </c:pt>
                <c:pt idx="86">
                  <c:v>5419</c:v>
                </c:pt>
                <c:pt idx="87">
                  <c:v>2459</c:v>
                </c:pt>
                <c:pt idx="88">
                  <c:v>1016</c:v>
                </c:pt>
                <c:pt idx="89">
                  <c:v>4015</c:v>
                </c:pt>
                <c:pt idx="90">
                  <c:v>5169</c:v>
                </c:pt>
                <c:pt idx="91">
                  <c:v>4850</c:v>
                </c:pt>
                <c:pt idx="92">
                  <c:v>4978</c:v>
                </c:pt>
                <c:pt idx="93">
                  <c:v>1503</c:v>
                </c:pt>
                <c:pt idx="94">
                  <c:v>680</c:v>
                </c:pt>
                <c:pt idx="95">
                  <c:v>467</c:v>
                </c:pt>
                <c:pt idx="96">
                  <c:v>445</c:v>
                </c:pt>
                <c:pt idx="97">
                  <c:v>3322</c:v>
                </c:pt>
                <c:pt idx="98">
                  <c:v>4874</c:v>
                </c:pt>
                <c:pt idx="99">
                  <c:v>7236</c:v>
                </c:pt>
                <c:pt idx="100">
                  <c:v>6584</c:v>
                </c:pt>
                <c:pt idx="101">
                  <c:v>1879</c:v>
                </c:pt>
                <c:pt idx="102">
                  <c:v>1216</c:v>
                </c:pt>
                <c:pt idx="103">
                  <c:v>5351</c:v>
                </c:pt>
                <c:pt idx="104">
                  <c:v>5046</c:v>
                </c:pt>
                <c:pt idx="105">
                  <c:v>4842</c:v>
                </c:pt>
                <c:pt idx="106">
                  <c:v>4632</c:v>
                </c:pt>
                <c:pt idx="107">
                  <c:v>3717</c:v>
                </c:pt>
                <c:pt idx="108">
                  <c:v>846</c:v>
                </c:pt>
                <c:pt idx="109">
                  <c:v>917</c:v>
                </c:pt>
                <c:pt idx="110">
                  <c:v>2550</c:v>
                </c:pt>
                <c:pt idx="111">
                  <c:v>2698</c:v>
                </c:pt>
                <c:pt idx="112">
                  <c:v>2725</c:v>
                </c:pt>
                <c:pt idx="113">
                  <c:v>3004</c:v>
                </c:pt>
                <c:pt idx="114">
                  <c:v>2427</c:v>
                </c:pt>
                <c:pt idx="115">
                  <c:v>786</c:v>
                </c:pt>
                <c:pt idx="116">
                  <c:v>520</c:v>
                </c:pt>
                <c:pt idx="117">
                  <c:v>2223</c:v>
                </c:pt>
                <c:pt idx="118">
                  <c:v>2221</c:v>
                </c:pt>
                <c:pt idx="119">
                  <c:v>2400</c:v>
                </c:pt>
                <c:pt idx="120">
                  <c:v>2393</c:v>
                </c:pt>
                <c:pt idx="121">
                  <c:v>1950</c:v>
                </c:pt>
                <c:pt idx="122">
                  <c:v>538</c:v>
                </c:pt>
                <c:pt idx="123">
                  <c:v>462</c:v>
                </c:pt>
                <c:pt idx="124">
                  <c:v>1733</c:v>
                </c:pt>
                <c:pt idx="125">
                  <c:v>2001</c:v>
                </c:pt>
                <c:pt idx="126">
                  <c:v>2216</c:v>
                </c:pt>
                <c:pt idx="127">
                  <c:v>2309</c:v>
                </c:pt>
                <c:pt idx="128">
                  <c:v>1705</c:v>
                </c:pt>
                <c:pt idx="129">
                  <c:v>605</c:v>
                </c:pt>
                <c:pt idx="130">
                  <c:v>443</c:v>
                </c:pt>
                <c:pt idx="131">
                  <c:v>1559</c:v>
                </c:pt>
                <c:pt idx="132">
                  <c:v>1874</c:v>
                </c:pt>
                <c:pt idx="133">
                  <c:v>1702</c:v>
                </c:pt>
                <c:pt idx="134">
                  <c:v>1681</c:v>
                </c:pt>
                <c:pt idx="135">
                  <c:v>1156</c:v>
                </c:pt>
                <c:pt idx="136">
                  <c:v>457</c:v>
                </c:pt>
                <c:pt idx="137">
                  <c:v>340</c:v>
                </c:pt>
                <c:pt idx="138">
                  <c:v>1015</c:v>
                </c:pt>
                <c:pt idx="139">
                  <c:v>1165</c:v>
                </c:pt>
                <c:pt idx="140">
                  <c:v>1284</c:v>
                </c:pt>
                <c:pt idx="141">
                  <c:v>1274</c:v>
                </c:pt>
                <c:pt idx="142">
                  <c:v>832</c:v>
                </c:pt>
                <c:pt idx="143">
                  <c:v>340</c:v>
                </c:pt>
                <c:pt idx="144">
                  <c:v>243</c:v>
                </c:pt>
                <c:pt idx="145">
                  <c:v>704</c:v>
                </c:pt>
                <c:pt idx="146">
                  <c:v>830</c:v>
                </c:pt>
                <c:pt idx="147">
                  <c:v>981</c:v>
                </c:pt>
                <c:pt idx="148">
                  <c:v>963</c:v>
                </c:pt>
                <c:pt idx="149">
                  <c:v>766</c:v>
                </c:pt>
                <c:pt idx="150">
                  <c:v>237</c:v>
                </c:pt>
                <c:pt idx="151">
                  <c:v>133</c:v>
                </c:pt>
                <c:pt idx="152">
                  <c:v>592</c:v>
                </c:pt>
                <c:pt idx="153">
                  <c:v>693</c:v>
                </c:pt>
                <c:pt idx="154">
                  <c:v>796</c:v>
                </c:pt>
                <c:pt idx="155">
                  <c:v>854</c:v>
                </c:pt>
                <c:pt idx="156">
                  <c:v>708</c:v>
                </c:pt>
                <c:pt idx="157">
                  <c:v>246</c:v>
                </c:pt>
                <c:pt idx="158">
                  <c:v>151</c:v>
                </c:pt>
                <c:pt idx="159">
                  <c:v>640</c:v>
                </c:pt>
                <c:pt idx="160">
                  <c:v>744</c:v>
                </c:pt>
                <c:pt idx="161">
                  <c:v>643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F267-42C6-AC42-927B0F02AEC7}"/>
            </c:ext>
          </c:extLst>
        </c:ser>
        <c:ser>
          <c:idx val="13"/>
          <c:order val="13"/>
          <c:tx>
            <c:strRef>
              <c:f>List1!$O$1</c:f>
              <c:strCache>
                <c:ptCount val="1"/>
                <c:pt idx="0">
                  <c:v>17 80-84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O$5:$O$249</c:f>
              <c:numCache>
                <c:formatCode>General</c:formatCode>
                <c:ptCount val="245"/>
                <c:pt idx="0">
                  <c:v>61</c:v>
                </c:pt>
                <c:pt idx="1">
                  <c:v>34</c:v>
                </c:pt>
                <c:pt idx="2">
                  <c:v>3</c:v>
                </c:pt>
                <c:pt idx="3">
                  <c:v>6</c:v>
                </c:pt>
                <c:pt idx="4">
                  <c:v>0</c:v>
                </c:pt>
                <c:pt idx="5">
                  <c:v>17</c:v>
                </c:pt>
                <c:pt idx="6">
                  <c:v>20</c:v>
                </c:pt>
                <c:pt idx="7">
                  <c:v>38</c:v>
                </c:pt>
                <c:pt idx="8">
                  <c:v>131</c:v>
                </c:pt>
                <c:pt idx="9">
                  <c:v>230</c:v>
                </c:pt>
                <c:pt idx="10">
                  <c:v>72</c:v>
                </c:pt>
                <c:pt idx="11">
                  <c:v>44</c:v>
                </c:pt>
                <c:pt idx="12">
                  <c:v>180</c:v>
                </c:pt>
                <c:pt idx="13">
                  <c:v>478</c:v>
                </c:pt>
                <c:pt idx="14">
                  <c:v>582</c:v>
                </c:pt>
                <c:pt idx="15">
                  <c:v>828</c:v>
                </c:pt>
                <c:pt idx="16">
                  <c:v>869</c:v>
                </c:pt>
                <c:pt idx="17">
                  <c:v>736</c:v>
                </c:pt>
                <c:pt idx="18">
                  <c:v>856</c:v>
                </c:pt>
                <c:pt idx="19">
                  <c:v>2524</c:v>
                </c:pt>
                <c:pt idx="20">
                  <c:v>2827</c:v>
                </c:pt>
                <c:pt idx="21">
                  <c:v>3305</c:v>
                </c:pt>
                <c:pt idx="22">
                  <c:v>4393</c:v>
                </c:pt>
                <c:pt idx="23">
                  <c:v>4951</c:v>
                </c:pt>
                <c:pt idx="24">
                  <c:v>1329</c:v>
                </c:pt>
                <c:pt idx="25">
                  <c:v>1017</c:v>
                </c:pt>
                <c:pt idx="26">
                  <c:v>2990</c:v>
                </c:pt>
                <c:pt idx="27">
                  <c:v>2814</c:v>
                </c:pt>
                <c:pt idx="28">
                  <c:v>2558</c:v>
                </c:pt>
                <c:pt idx="29">
                  <c:v>2201</c:v>
                </c:pt>
                <c:pt idx="30">
                  <c:v>2015</c:v>
                </c:pt>
                <c:pt idx="31">
                  <c:v>319</c:v>
                </c:pt>
                <c:pt idx="32">
                  <c:v>280</c:v>
                </c:pt>
                <c:pt idx="33">
                  <c:v>1406</c:v>
                </c:pt>
                <c:pt idx="34">
                  <c:v>1206</c:v>
                </c:pt>
                <c:pt idx="35">
                  <c:v>1243</c:v>
                </c:pt>
                <c:pt idx="36">
                  <c:v>1541</c:v>
                </c:pt>
                <c:pt idx="37">
                  <c:v>1550</c:v>
                </c:pt>
                <c:pt idx="38">
                  <c:v>368</c:v>
                </c:pt>
                <c:pt idx="39">
                  <c:v>371</c:v>
                </c:pt>
                <c:pt idx="40">
                  <c:v>1215</c:v>
                </c:pt>
                <c:pt idx="41">
                  <c:v>1237</c:v>
                </c:pt>
                <c:pt idx="42">
                  <c:v>1179</c:v>
                </c:pt>
                <c:pt idx="43">
                  <c:v>1583</c:v>
                </c:pt>
                <c:pt idx="44">
                  <c:v>1687</c:v>
                </c:pt>
                <c:pt idx="45">
                  <c:v>538</c:v>
                </c:pt>
                <c:pt idx="46">
                  <c:v>317</c:v>
                </c:pt>
                <c:pt idx="47">
                  <c:v>1775</c:v>
                </c:pt>
                <c:pt idx="48">
                  <c:v>2635</c:v>
                </c:pt>
                <c:pt idx="49">
                  <c:v>2858</c:v>
                </c:pt>
                <c:pt idx="50">
                  <c:v>3743</c:v>
                </c:pt>
                <c:pt idx="51">
                  <c:v>3501</c:v>
                </c:pt>
                <c:pt idx="52">
                  <c:v>520</c:v>
                </c:pt>
                <c:pt idx="53">
                  <c:v>321</c:v>
                </c:pt>
                <c:pt idx="54">
                  <c:v>3425</c:v>
                </c:pt>
                <c:pt idx="55">
                  <c:v>4566</c:v>
                </c:pt>
                <c:pt idx="56">
                  <c:v>4876</c:v>
                </c:pt>
                <c:pt idx="57">
                  <c:v>7091</c:v>
                </c:pt>
                <c:pt idx="58">
                  <c:v>5407</c:v>
                </c:pt>
                <c:pt idx="59">
                  <c:v>1084</c:v>
                </c:pt>
                <c:pt idx="60">
                  <c:v>794</c:v>
                </c:pt>
                <c:pt idx="61">
                  <c:v>5398</c:v>
                </c:pt>
                <c:pt idx="62">
                  <c:v>5486</c:v>
                </c:pt>
                <c:pt idx="63">
                  <c:v>5224</c:v>
                </c:pt>
                <c:pt idx="64">
                  <c:v>5309</c:v>
                </c:pt>
                <c:pt idx="65">
                  <c:v>3612</c:v>
                </c:pt>
                <c:pt idx="66">
                  <c:v>1225</c:v>
                </c:pt>
                <c:pt idx="67">
                  <c:v>1131</c:v>
                </c:pt>
                <c:pt idx="68">
                  <c:v>3151</c:v>
                </c:pt>
                <c:pt idx="69">
                  <c:v>3581</c:v>
                </c:pt>
                <c:pt idx="70">
                  <c:v>4018</c:v>
                </c:pt>
                <c:pt idx="71">
                  <c:v>4100</c:v>
                </c:pt>
                <c:pt idx="72">
                  <c:v>2746</c:v>
                </c:pt>
                <c:pt idx="73">
                  <c:v>1015</c:v>
                </c:pt>
                <c:pt idx="74">
                  <c:v>735</c:v>
                </c:pt>
                <c:pt idx="75">
                  <c:v>1449</c:v>
                </c:pt>
                <c:pt idx="76">
                  <c:v>2155</c:v>
                </c:pt>
                <c:pt idx="77">
                  <c:v>2241</c:v>
                </c:pt>
                <c:pt idx="78">
                  <c:v>2400</c:v>
                </c:pt>
                <c:pt idx="79">
                  <c:v>1981</c:v>
                </c:pt>
                <c:pt idx="80">
                  <c:v>633</c:v>
                </c:pt>
                <c:pt idx="81">
                  <c:v>342</c:v>
                </c:pt>
                <c:pt idx="82">
                  <c:v>1285</c:v>
                </c:pt>
                <c:pt idx="83">
                  <c:v>1450</c:v>
                </c:pt>
                <c:pt idx="84">
                  <c:v>1476</c:v>
                </c:pt>
                <c:pt idx="85">
                  <c:v>1531</c:v>
                </c:pt>
                <c:pt idx="86">
                  <c:v>1195</c:v>
                </c:pt>
                <c:pt idx="87">
                  <c:v>377</c:v>
                </c:pt>
                <c:pt idx="88">
                  <c:v>178</c:v>
                </c:pt>
                <c:pt idx="89">
                  <c:v>1070</c:v>
                </c:pt>
                <c:pt idx="90">
                  <c:v>1382</c:v>
                </c:pt>
                <c:pt idx="91">
                  <c:v>1306</c:v>
                </c:pt>
                <c:pt idx="92">
                  <c:v>1294</c:v>
                </c:pt>
                <c:pt idx="93">
                  <c:v>397</c:v>
                </c:pt>
                <c:pt idx="94">
                  <c:v>158</c:v>
                </c:pt>
                <c:pt idx="95">
                  <c:v>92</c:v>
                </c:pt>
                <c:pt idx="96">
                  <c:v>90</c:v>
                </c:pt>
                <c:pt idx="97">
                  <c:v>901</c:v>
                </c:pt>
                <c:pt idx="98">
                  <c:v>1240</c:v>
                </c:pt>
                <c:pt idx="99">
                  <c:v>1843</c:v>
                </c:pt>
                <c:pt idx="100">
                  <c:v>1485</c:v>
                </c:pt>
                <c:pt idx="101">
                  <c:v>471</c:v>
                </c:pt>
                <c:pt idx="102">
                  <c:v>287</c:v>
                </c:pt>
                <c:pt idx="103">
                  <c:v>1203</c:v>
                </c:pt>
                <c:pt idx="104">
                  <c:v>1137</c:v>
                </c:pt>
                <c:pt idx="105">
                  <c:v>1037</c:v>
                </c:pt>
                <c:pt idx="106">
                  <c:v>1083</c:v>
                </c:pt>
                <c:pt idx="107">
                  <c:v>875</c:v>
                </c:pt>
                <c:pt idx="108">
                  <c:v>187</c:v>
                </c:pt>
                <c:pt idx="109">
                  <c:v>158</c:v>
                </c:pt>
                <c:pt idx="110">
                  <c:v>610</c:v>
                </c:pt>
                <c:pt idx="111">
                  <c:v>701</c:v>
                </c:pt>
                <c:pt idx="112">
                  <c:v>715</c:v>
                </c:pt>
                <c:pt idx="113">
                  <c:v>786</c:v>
                </c:pt>
                <c:pt idx="114">
                  <c:v>682</c:v>
                </c:pt>
                <c:pt idx="115">
                  <c:v>177</c:v>
                </c:pt>
                <c:pt idx="116">
                  <c:v>123</c:v>
                </c:pt>
                <c:pt idx="117">
                  <c:v>562</c:v>
                </c:pt>
                <c:pt idx="118">
                  <c:v>596</c:v>
                </c:pt>
                <c:pt idx="119">
                  <c:v>662</c:v>
                </c:pt>
                <c:pt idx="120">
                  <c:v>687</c:v>
                </c:pt>
                <c:pt idx="121">
                  <c:v>527</c:v>
                </c:pt>
                <c:pt idx="122">
                  <c:v>136</c:v>
                </c:pt>
                <c:pt idx="123">
                  <c:v>149</c:v>
                </c:pt>
                <c:pt idx="124">
                  <c:v>515</c:v>
                </c:pt>
                <c:pt idx="125">
                  <c:v>629</c:v>
                </c:pt>
                <c:pt idx="126">
                  <c:v>689</c:v>
                </c:pt>
                <c:pt idx="127">
                  <c:v>799</c:v>
                </c:pt>
                <c:pt idx="128">
                  <c:v>627</c:v>
                </c:pt>
                <c:pt idx="129">
                  <c:v>173</c:v>
                </c:pt>
                <c:pt idx="130">
                  <c:v>123</c:v>
                </c:pt>
                <c:pt idx="131">
                  <c:v>550</c:v>
                </c:pt>
                <c:pt idx="132">
                  <c:v>658</c:v>
                </c:pt>
                <c:pt idx="133">
                  <c:v>623</c:v>
                </c:pt>
                <c:pt idx="134">
                  <c:v>609</c:v>
                </c:pt>
                <c:pt idx="135">
                  <c:v>496</c:v>
                </c:pt>
                <c:pt idx="136">
                  <c:v>160</c:v>
                </c:pt>
                <c:pt idx="137">
                  <c:v>156</c:v>
                </c:pt>
                <c:pt idx="138">
                  <c:v>376</c:v>
                </c:pt>
                <c:pt idx="139">
                  <c:v>401</c:v>
                </c:pt>
                <c:pt idx="140">
                  <c:v>478</c:v>
                </c:pt>
                <c:pt idx="141">
                  <c:v>493</c:v>
                </c:pt>
                <c:pt idx="142">
                  <c:v>363</c:v>
                </c:pt>
                <c:pt idx="143">
                  <c:v>116</c:v>
                </c:pt>
                <c:pt idx="144">
                  <c:v>99</c:v>
                </c:pt>
                <c:pt idx="145">
                  <c:v>278</c:v>
                </c:pt>
                <c:pt idx="146">
                  <c:v>354</c:v>
                </c:pt>
                <c:pt idx="147">
                  <c:v>377</c:v>
                </c:pt>
                <c:pt idx="148">
                  <c:v>372</c:v>
                </c:pt>
                <c:pt idx="149">
                  <c:v>292</c:v>
                </c:pt>
                <c:pt idx="150">
                  <c:v>78</c:v>
                </c:pt>
                <c:pt idx="151">
                  <c:v>77</c:v>
                </c:pt>
                <c:pt idx="152">
                  <c:v>242</c:v>
                </c:pt>
                <c:pt idx="153">
                  <c:v>280</c:v>
                </c:pt>
                <c:pt idx="154">
                  <c:v>318</c:v>
                </c:pt>
                <c:pt idx="155">
                  <c:v>335</c:v>
                </c:pt>
                <c:pt idx="156">
                  <c:v>265</c:v>
                </c:pt>
                <c:pt idx="157">
                  <c:v>84</c:v>
                </c:pt>
                <c:pt idx="158">
                  <c:v>61</c:v>
                </c:pt>
                <c:pt idx="159">
                  <c:v>254</c:v>
                </c:pt>
                <c:pt idx="160">
                  <c:v>320</c:v>
                </c:pt>
                <c:pt idx="161">
                  <c:v>271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F267-42C6-AC42-927B0F02AEC7}"/>
            </c:ext>
          </c:extLst>
        </c:ser>
        <c:ser>
          <c:idx val="14"/>
          <c:order val="14"/>
          <c:tx>
            <c:strRef>
              <c:f>List1!$P$1</c:f>
              <c:strCache>
                <c:ptCount val="1"/>
                <c:pt idx="0">
                  <c:v>18 85+</c:v>
                </c:pt>
              </c:strCache>
            </c:strRef>
          </c:tx>
          <c:spPr>
            <a:solidFill>
              <a:schemeClr val="accent3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P$5:$P$249</c:f>
              <c:numCache>
                <c:formatCode>General</c:formatCode>
                <c:ptCount val="245"/>
                <c:pt idx="0">
                  <c:v>133</c:v>
                </c:pt>
                <c:pt idx="1">
                  <c:v>84</c:v>
                </c:pt>
                <c:pt idx="2">
                  <c:v>0</c:v>
                </c:pt>
                <c:pt idx="3">
                  <c:v>6</c:v>
                </c:pt>
                <c:pt idx="4">
                  <c:v>3</c:v>
                </c:pt>
                <c:pt idx="5">
                  <c:v>14</c:v>
                </c:pt>
                <c:pt idx="6">
                  <c:v>21</c:v>
                </c:pt>
                <c:pt idx="7">
                  <c:v>29</c:v>
                </c:pt>
                <c:pt idx="8">
                  <c:v>272</c:v>
                </c:pt>
                <c:pt idx="9">
                  <c:v>630</c:v>
                </c:pt>
                <c:pt idx="10">
                  <c:v>114</c:v>
                </c:pt>
                <c:pt idx="11">
                  <c:v>63</c:v>
                </c:pt>
                <c:pt idx="12">
                  <c:v>456</c:v>
                </c:pt>
                <c:pt idx="13">
                  <c:v>1180</c:v>
                </c:pt>
                <c:pt idx="14">
                  <c:v>1118</c:v>
                </c:pt>
                <c:pt idx="15">
                  <c:v>1459</c:v>
                </c:pt>
                <c:pt idx="16">
                  <c:v>1425</c:v>
                </c:pt>
                <c:pt idx="17">
                  <c:v>772</c:v>
                </c:pt>
                <c:pt idx="18">
                  <c:v>792</c:v>
                </c:pt>
                <c:pt idx="19">
                  <c:v>2161</c:v>
                </c:pt>
                <c:pt idx="20">
                  <c:v>2609</c:v>
                </c:pt>
                <c:pt idx="21">
                  <c:v>3136</c:v>
                </c:pt>
                <c:pt idx="22">
                  <c:v>3867</c:v>
                </c:pt>
                <c:pt idx="23">
                  <c:v>3925</c:v>
                </c:pt>
                <c:pt idx="24">
                  <c:v>1133</c:v>
                </c:pt>
                <c:pt idx="25">
                  <c:v>820</c:v>
                </c:pt>
                <c:pt idx="26">
                  <c:v>3139</c:v>
                </c:pt>
                <c:pt idx="27">
                  <c:v>3534</c:v>
                </c:pt>
                <c:pt idx="28">
                  <c:v>2919</c:v>
                </c:pt>
                <c:pt idx="29">
                  <c:v>2151</c:v>
                </c:pt>
                <c:pt idx="30">
                  <c:v>1886</c:v>
                </c:pt>
                <c:pt idx="31">
                  <c:v>243</c:v>
                </c:pt>
                <c:pt idx="32">
                  <c:v>298</c:v>
                </c:pt>
                <c:pt idx="33">
                  <c:v>1079</c:v>
                </c:pt>
                <c:pt idx="34">
                  <c:v>1289</c:v>
                </c:pt>
                <c:pt idx="35">
                  <c:v>1390</c:v>
                </c:pt>
                <c:pt idx="36">
                  <c:v>1681</c:v>
                </c:pt>
                <c:pt idx="37">
                  <c:v>1884</c:v>
                </c:pt>
                <c:pt idx="38">
                  <c:v>367</c:v>
                </c:pt>
                <c:pt idx="39">
                  <c:v>357</c:v>
                </c:pt>
                <c:pt idx="40">
                  <c:v>1412</c:v>
                </c:pt>
                <c:pt idx="41">
                  <c:v>1798</c:v>
                </c:pt>
                <c:pt idx="42">
                  <c:v>1855</c:v>
                </c:pt>
                <c:pt idx="43">
                  <c:v>1746</c:v>
                </c:pt>
                <c:pt idx="44">
                  <c:v>2017</c:v>
                </c:pt>
                <c:pt idx="45">
                  <c:v>459</c:v>
                </c:pt>
                <c:pt idx="46">
                  <c:v>348</c:v>
                </c:pt>
                <c:pt idx="47">
                  <c:v>2062</c:v>
                </c:pt>
                <c:pt idx="48">
                  <c:v>3020</c:v>
                </c:pt>
                <c:pt idx="49">
                  <c:v>2955</c:v>
                </c:pt>
                <c:pt idx="50">
                  <c:v>3957</c:v>
                </c:pt>
                <c:pt idx="51">
                  <c:v>3505</c:v>
                </c:pt>
                <c:pt idx="52">
                  <c:v>639</c:v>
                </c:pt>
                <c:pt idx="53">
                  <c:v>431</c:v>
                </c:pt>
                <c:pt idx="54">
                  <c:v>2879</c:v>
                </c:pt>
                <c:pt idx="55">
                  <c:v>3178</c:v>
                </c:pt>
                <c:pt idx="56">
                  <c:v>2607</c:v>
                </c:pt>
                <c:pt idx="57">
                  <c:v>2951</c:v>
                </c:pt>
                <c:pt idx="58">
                  <c:v>2801</c:v>
                </c:pt>
                <c:pt idx="59">
                  <c:v>674</c:v>
                </c:pt>
                <c:pt idx="60">
                  <c:v>411</c:v>
                </c:pt>
                <c:pt idx="61">
                  <c:v>2364</c:v>
                </c:pt>
                <c:pt idx="62">
                  <c:v>2315</c:v>
                </c:pt>
                <c:pt idx="63">
                  <c:v>2626</c:v>
                </c:pt>
                <c:pt idx="64">
                  <c:v>2637</c:v>
                </c:pt>
                <c:pt idx="65">
                  <c:v>2121</c:v>
                </c:pt>
                <c:pt idx="66">
                  <c:v>555</c:v>
                </c:pt>
                <c:pt idx="67">
                  <c:v>376</c:v>
                </c:pt>
                <c:pt idx="68">
                  <c:v>1606</c:v>
                </c:pt>
                <c:pt idx="69">
                  <c:v>1866</c:v>
                </c:pt>
                <c:pt idx="70">
                  <c:v>2238</c:v>
                </c:pt>
                <c:pt idx="71">
                  <c:v>2232</c:v>
                </c:pt>
                <c:pt idx="72">
                  <c:v>1501</c:v>
                </c:pt>
                <c:pt idx="73">
                  <c:v>451</c:v>
                </c:pt>
                <c:pt idx="74">
                  <c:v>308</c:v>
                </c:pt>
                <c:pt idx="75">
                  <c:v>914</c:v>
                </c:pt>
                <c:pt idx="76">
                  <c:v>1260</c:v>
                </c:pt>
                <c:pt idx="77">
                  <c:v>1171</c:v>
                </c:pt>
                <c:pt idx="78">
                  <c:v>1298</c:v>
                </c:pt>
                <c:pt idx="79">
                  <c:v>1177</c:v>
                </c:pt>
                <c:pt idx="80">
                  <c:v>341</c:v>
                </c:pt>
                <c:pt idx="81">
                  <c:v>163</c:v>
                </c:pt>
                <c:pt idx="82">
                  <c:v>719</c:v>
                </c:pt>
                <c:pt idx="83">
                  <c:v>827</c:v>
                </c:pt>
                <c:pt idx="84">
                  <c:v>830</c:v>
                </c:pt>
                <c:pt idx="85">
                  <c:v>999</c:v>
                </c:pt>
                <c:pt idx="86">
                  <c:v>852</c:v>
                </c:pt>
                <c:pt idx="87">
                  <c:v>185</c:v>
                </c:pt>
                <c:pt idx="88">
                  <c:v>99</c:v>
                </c:pt>
                <c:pt idx="89">
                  <c:v>624</c:v>
                </c:pt>
                <c:pt idx="90">
                  <c:v>958</c:v>
                </c:pt>
                <c:pt idx="91">
                  <c:v>920</c:v>
                </c:pt>
                <c:pt idx="92">
                  <c:v>911</c:v>
                </c:pt>
                <c:pt idx="93">
                  <c:v>251</c:v>
                </c:pt>
                <c:pt idx="94">
                  <c:v>93</c:v>
                </c:pt>
                <c:pt idx="95">
                  <c:v>60</c:v>
                </c:pt>
                <c:pt idx="96">
                  <c:v>51</c:v>
                </c:pt>
                <c:pt idx="97">
                  <c:v>556</c:v>
                </c:pt>
                <c:pt idx="98">
                  <c:v>840</c:v>
                </c:pt>
                <c:pt idx="99">
                  <c:v>1293</c:v>
                </c:pt>
                <c:pt idx="100">
                  <c:v>1013</c:v>
                </c:pt>
                <c:pt idx="101">
                  <c:v>287</c:v>
                </c:pt>
                <c:pt idx="102">
                  <c:v>154</c:v>
                </c:pt>
                <c:pt idx="103">
                  <c:v>727</c:v>
                </c:pt>
                <c:pt idx="104">
                  <c:v>793</c:v>
                </c:pt>
                <c:pt idx="105">
                  <c:v>643</c:v>
                </c:pt>
                <c:pt idx="106">
                  <c:v>821</c:v>
                </c:pt>
                <c:pt idx="107">
                  <c:v>543</c:v>
                </c:pt>
                <c:pt idx="108">
                  <c:v>111</c:v>
                </c:pt>
                <c:pt idx="109">
                  <c:v>109</c:v>
                </c:pt>
                <c:pt idx="110">
                  <c:v>396</c:v>
                </c:pt>
                <c:pt idx="111">
                  <c:v>497</c:v>
                </c:pt>
                <c:pt idx="112">
                  <c:v>521</c:v>
                </c:pt>
                <c:pt idx="113">
                  <c:v>667</c:v>
                </c:pt>
                <c:pt idx="114">
                  <c:v>475</c:v>
                </c:pt>
                <c:pt idx="115">
                  <c:v>115</c:v>
                </c:pt>
                <c:pt idx="116">
                  <c:v>76</c:v>
                </c:pt>
                <c:pt idx="117">
                  <c:v>363</c:v>
                </c:pt>
                <c:pt idx="118">
                  <c:v>447</c:v>
                </c:pt>
                <c:pt idx="119">
                  <c:v>449</c:v>
                </c:pt>
                <c:pt idx="120">
                  <c:v>507</c:v>
                </c:pt>
                <c:pt idx="121">
                  <c:v>340</c:v>
                </c:pt>
                <c:pt idx="122">
                  <c:v>81</c:v>
                </c:pt>
                <c:pt idx="123">
                  <c:v>85</c:v>
                </c:pt>
                <c:pt idx="124">
                  <c:v>338</c:v>
                </c:pt>
                <c:pt idx="125">
                  <c:v>418</c:v>
                </c:pt>
                <c:pt idx="126">
                  <c:v>432</c:v>
                </c:pt>
                <c:pt idx="127">
                  <c:v>605</c:v>
                </c:pt>
                <c:pt idx="128">
                  <c:v>389</c:v>
                </c:pt>
                <c:pt idx="129">
                  <c:v>103</c:v>
                </c:pt>
                <c:pt idx="130">
                  <c:v>71</c:v>
                </c:pt>
                <c:pt idx="131">
                  <c:v>393</c:v>
                </c:pt>
                <c:pt idx="132">
                  <c:v>484</c:v>
                </c:pt>
                <c:pt idx="133">
                  <c:v>415</c:v>
                </c:pt>
                <c:pt idx="134">
                  <c:v>392</c:v>
                </c:pt>
                <c:pt idx="135">
                  <c:v>307</c:v>
                </c:pt>
                <c:pt idx="136">
                  <c:v>92</c:v>
                </c:pt>
                <c:pt idx="137">
                  <c:v>73</c:v>
                </c:pt>
                <c:pt idx="138">
                  <c:v>220</c:v>
                </c:pt>
                <c:pt idx="139">
                  <c:v>285</c:v>
                </c:pt>
                <c:pt idx="140">
                  <c:v>368</c:v>
                </c:pt>
                <c:pt idx="141">
                  <c:v>371</c:v>
                </c:pt>
                <c:pt idx="142">
                  <c:v>248</c:v>
                </c:pt>
                <c:pt idx="143">
                  <c:v>77</c:v>
                </c:pt>
                <c:pt idx="144">
                  <c:v>56</c:v>
                </c:pt>
                <c:pt idx="145">
                  <c:v>200</c:v>
                </c:pt>
                <c:pt idx="146">
                  <c:v>242</c:v>
                </c:pt>
                <c:pt idx="147">
                  <c:v>265</c:v>
                </c:pt>
                <c:pt idx="148">
                  <c:v>267</c:v>
                </c:pt>
                <c:pt idx="149">
                  <c:v>191</c:v>
                </c:pt>
                <c:pt idx="150">
                  <c:v>58</c:v>
                </c:pt>
                <c:pt idx="151">
                  <c:v>34</c:v>
                </c:pt>
                <c:pt idx="152">
                  <c:v>149</c:v>
                </c:pt>
                <c:pt idx="153">
                  <c:v>199</c:v>
                </c:pt>
                <c:pt idx="154">
                  <c:v>236</c:v>
                </c:pt>
                <c:pt idx="155">
                  <c:v>251</c:v>
                </c:pt>
                <c:pt idx="156">
                  <c:v>198</c:v>
                </c:pt>
                <c:pt idx="157">
                  <c:v>49</c:v>
                </c:pt>
                <c:pt idx="158">
                  <c:v>31</c:v>
                </c:pt>
                <c:pt idx="159">
                  <c:v>187</c:v>
                </c:pt>
                <c:pt idx="160">
                  <c:v>249</c:v>
                </c:pt>
                <c:pt idx="161">
                  <c:v>175</c:v>
                </c:pt>
                <c:pt idx="162">
                  <c:v>141</c:v>
                </c:pt>
                <c:pt idx="163">
                  <c:v>141</c:v>
                </c:pt>
                <c:pt idx="164">
                  <c:v>141</c:v>
                </c:pt>
                <c:pt idx="165">
                  <c:v>141</c:v>
                </c:pt>
                <c:pt idx="166">
                  <c:v>141</c:v>
                </c:pt>
                <c:pt idx="167">
                  <c:v>141</c:v>
                </c:pt>
                <c:pt idx="168">
                  <c:v>141</c:v>
                </c:pt>
                <c:pt idx="169">
                  <c:v>141</c:v>
                </c:pt>
                <c:pt idx="170">
                  <c:v>141</c:v>
                </c:pt>
                <c:pt idx="171">
                  <c:v>141</c:v>
                </c:pt>
                <c:pt idx="172">
                  <c:v>141</c:v>
                </c:pt>
                <c:pt idx="173">
                  <c:v>141</c:v>
                </c:pt>
                <c:pt idx="174">
                  <c:v>141</c:v>
                </c:pt>
                <c:pt idx="175">
                  <c:v>141</c:v>
                </c:pt>
                <c:pt idx="176">
                  <c:v>141</c:v>
                </c:pt>
                <c:pt idx="177">
                  <c:v>141</c:v>
                </c:pt>
                <c:pt idx="178">
                  <c:v>141</c:v>
                </c:pt>
                <c:pt idx="179">
                  <c:v>141</c:v>
                </c:pt>
                <c:pt idx="180">
                  <c:v>141</c:v>
                </c:pt>
                <c:pt idx="181">
                  <c:v>141</c:v>
                </c:pt>
                <c:pt idx="182">
                  <c:v>141</c:v>
                </c:pt>
                <c:pt idx="183">
                  <c:v>211</c:v>
                </c:pt>
                <c:pt idx="184">
                  <c:v>211</c:v>
                </c:pt>
                <c:pt idx="185">
                  <c:v>211</c:v>
                </c:pt>
                <c:pt idx="186">
                  <c:v>211</c:v>
                </c:pt>
                <c:pt idx="187">
                  <c:v>211</c:v>
                </c:pt>
                <c:pt idx="188">
                  <c:v>211</c:v>
                </c:pt>
                <c:pt idx="189">
                  <c:v>211</c:v>
                </c:pt>
                <c:pt idx="190">
                  <c:v>211</c:v>
                </c:pt>
                <c:pt idx="191">
                  <c:v>211</c:v>
                </c:pt>
                <c:pt idx="192">
                  <c:v>211</c:v>
                </c:pt>
                <c:pt idx="193">
                  <c:v>211</c:v>
                </c:pt>
                <c:pt idx="194">
                  <c:v>211</c:v>
                </c:pt>
                <c:pt idx="195">
                  <c:v>211</c:v>
                </c:pt>
                <c:pt idx="196">
                  <c:v>211</c:v>
                </c:pt>
                <c:pt idx="197">
                  <c:v>211</c:v>
                </c:pt>
                <c:pt idx="198">
                  <c:v>211</c:v>
                </c:pt>
                <c:pt idx="199">
                  <c:v>211</c:v>
                </c:pt>
                <c:pt idx="200">
                  <c:v>211</c:v>
                </c:pt>
                <c:pt idx="201">
                  <c:v>211</c:v>
                </c:pt>
                <c:pt idx="202">
                  <c:v>211</c:v>
                </c:pt>
                <c:pt idx="203">
                  <c:v>211</c:v>
                </c:pt>
                <c:pt idx="204">
                  <c:v>211</c:v>
                </c:pt>
                <c:pt idx="205">
                  <c:v>211</c:v>
                </c:pt>
                <c:pt idx="206">
                  <c:v>211</c:v>
                </c:pt>
                <c:pt idx="207">
                  <c:v>211</c:v>
                </c:pt>
                <c:pt idx="208">
                  <c:v>211</c:v>
                </c:pt>
                <c:pt idx="209">
                  <c:v>211</c:v>
                </c:pt>
                <c:pt idx="210">
                  <c:v>211</c:v>
                </c:pt>
                <c:pt idx="211">
                  <c:v>211</c:v>
                </c:pt>
                <c:pt idx="212">
                  <c:v>211</c:v>
                </c:pt>
                <c:pt idx="213">
                  <c:v>211</c:v>
                </c:pt>
                <c:pt idx="214">
                  <c:v>806</c:v>
                </c:pt>
                <c:pt idx="215">
                  <c:v>806</c:v>
                </c:pt>
                <c:pt idx="216">
                  <c:v>806</c:v>
                </c:pt>
                <c:pt idx="217">
                  <c:v>806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F267-42C6-AC42-927B0F02AE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831664431"/>
        <c:axId val="711924943"/>
      </c:barChart>
      <c:dateAx>
        <c:axId val="83166443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1924943"/>
        <c:crosses val="autoZero"/>
        <c:auto val="1"/>
        <c:lblOffset val="100"/>
        <c:baseTimeUnit val="days"/>
      </c:dateAx>
      <c:valAx>
        <c:axId val="711924943"/>
        <c:scaling>
          <c:orientation val="minMax"/>
          <c:max val="1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316644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4072247296032108"/>
          <c:y val="3.3915582154437109E-2"/>
          <c:w val="5.2695597959187372E-2"/>
          <c:h val="0.891362418864909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4 15-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B$5:$B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1</c:v>
                </c:pt>
                <c:pt idx="20">
                  <c:v>3</c:v>
                </c:pt>
                <c:pt idx="21">
                  <c:v>1</c:v>
                </c:pt>
                <c:pt idx="22">
                  <c:v>3</c:v>
                </c:pt>
                <c:pt idx="23">
                  <c:v>2</c:v>
                </c:pt>
                <c:pt idx="24">
                  <c:v>0</c:v>
                </c:pt>
                <c:pt idx="25">
                  <c:v>0</c:v>
                </c:pt>
                <c:pt idx="26">
                  <c:v>5</c:v>
                </c:pt>
                <c:pt idx="27">
                  <c:v>6</c:v>
                </c:pt>
                <c:pt idx="28">
                  <c:v>17</c:v>
                </c:pt>
                <c:pt idx="29">
                  <c:v>11</c:v>
                </c:pt>
                <c:pt idx="30">
                  <c:v>20</c:v>
                </c:pt>
                <c:pt idx="31">
                  <c:v>2</c:v>
                </c:pt>
                <c:pt idx="32">
                  <c:v>2</c:v>
                </c:pt>
                <c:pt idx="33">
                  <c:v>16</c:v>
                </c:pt>
                <c:pt idx="34">
                  <c:v>29</c:v>
                </c:pt>
                <c:pt idx="35">
                  <c:v>33</c:v>
                </c:pt>
                <c:pt idx="36">
                  <c:v>38</c:v>
                </c:pt>
                <c:pt idx="37">
                  <c:v>43</c:v>
                </c:pt>
                <c:pt idx="38">
                  <c:v>3</c:v>
                </c:pt>
                <c:pt idx="39">
                  <c:v>8</c:v>
                </c:pt>
                <c:pt idx="40">
                  <c:v>33</c:v>
                </c:pt>
                <c:pt idx="41">
                  <c:v>43</c:v>
                </c:pt>
                <c:pt idx="42">
                  <c:v>22</c:v>
                </c:pt>
                <c:pt idx="43">
                  <c:v>35</c:v>
                </c:pt>
                <c:pt idx="44">
                  <c:v>33</c:v>
                </c:pt>
                <c:pt idx="45">
                  <c:v>2</c:v>
                </c:pt>
                <c:pt idx="46">
                  <c:v>1</c:v>
                </c:pt>
                <c:pt idx="47">
                  <c:v>14</c:v>
                </c:pt>
                <c:pt idx="48">
                  <c:v>28</c:v>
                </c:pt>
                <c:pt idx="49">
                  <c:v>30</c:v>
                </c:pt>
                <c:pt idx="50">
                  <c:v>15</c:v>
                </c:pt>
                <c:pt idx="51">
                  <c:v>6</c:v>
                </c:pt>
                <c:pt idx="52">
                  <c:v>0</c:v>
                </c:pt>
                <c:pt idx="53">
                  <c:v>0</c:v>
                </c:pt>
                <c:pt idx="54">
                  <c:v>6</c:v>
                </c:pt>
                <c:pt idx="55">
                  <c:v>14</c:v>
                </c:pt>
                <c:pt idx="56">
                  <c:v>5</c:v>
                </c:pt>
                <c:pt idx="57">
                  <c:v>16</c:v>
                </c:pt>
                <c:pt idx="58">
                  <c:v>12</c:v>
                </c:pt>
                <c:pt idx="59">
                  <c:v>0</c:v>
                </c:pt>
                <c:pt idx="60">
                  <c:v>1</c:v>
                </c:pt>
                <c:pt idx="61">
                  <c:v>5</c:v>
                </c:pt>
                <c:pt idx="62">
                  <c:v>4</c:v>
                </c:pt>
                <c:pt idx="63">
                  <c:v>10</c:v>
                </c:pt>
                <c:pt idx="64">
                  <c:v>11</c:v>
                </c:pt>
                <c:pt idx="65">
                  <c:v>12</c:v>
                </c:pt>
                <c:pt idx="66">
                  <c:v>0</c:v>
                </c:pt>
                <c:pt idx="67">
                  <c:v>1</c:v>
                </c:pt>
                <c:pt idx="68">
                  <c:v>7</c:v>
                </c:pt>
                <c:pt idx="69">
                  <c:v>13</c:v>
                </c:pt>
                <c:pt idx="70">
                  <c:v>14</c:v>
                </c:pt>
                <c:pt idx="71">
                  <c:v>25</c:v>
                </c:pt>
                <c:pt idx="72">
                  <c:v>20</c:v>
                </c:pt>
                <c:pt idx="73">
                  <c:v>5</c:v>
                </c:pt>
                <c:pt idx="74">
                  <c:v>1</c:v>
                </c:pt>
                <c:pt idx="75">
                  <c:v>15</c:v>
                </c:pt>
                <c:pt idx="76">
                  <c:v>16</c:v>
                </c:pt>
                <c:pt idx="77">
                  <c:v>12</c:v>
                </c:pt>
                <c:pt idx="78">
                  <c:v>28</c:v>
                </c:pt>
                <c:pt idx="79">
                  <c:v>91</c:v>
                </c:pt>
                <c:pt idx="80">
                  <c:v>42</c:v>
                </c:pt>
                <c:pt idx="81">
                  <c:v>2</c:v>
                </c:pt>
                <c:pt idx="82">
                  <c:v>17</c:v>
                </c:pt>
                <c:pt idx="83">
                  <c:v>12</c:v>
                </c:pt>
                <c:pt idx="84">
                  <c:v>14</c:v>
                </c:pt>
                <c:pt idx="85">
                  <c:v>21</c:v>
                </c:pt>
                <c:pt idx="86">
                  <c:v>22</c:v>
                </c:pt>
                <c:pt idx="87">
                  <c:v>10</c:v>
                </c:pt>
                <c:pt idx="88">
                  <c:v>4</c:v>
                </c:pt>
                <c:pt idx="89">
                  <c:v>18</c:v>
                </c:pt>
                <c:pt idx="90">
                  <c:v>101</c:v>
                </c:pt>
                <c:pt idx="91">
                  <c:v>37</c:v>
                </c:pt>
                <c:pt idx="92">
                  <c:v>38</c:v>
                </c:pt>
                <c:pt idx="93">
                  <c:v>23</c:v>
                </c:pt>
                <c:pt idx="94">
                  <c:v>18</c:v>
                </c:pt>
                <c:pt idx="95">
                  <c:v>12</c:v>
                </c:pt>
                <c:pt idx="96">
                  <c:v>17</c:v>
                </c:pt>
                <c:pt idx="97">
                  <c:v>90</c:v>
                </c:pt>
                <c:pt idx="98">
                  <c:v>72</c:v>
                </c:pt>
                <c:pt idx="99">
                  <c:v>70</c:v>
                </c:pt>
                <c:pt idx="100">
                  <c:v>118</c:v>
                </c:pt>
                <c:pt idx="101">
                  <c:v>55</c:v>
                </c:pt>
                <c:pt idx="102">
                  <c:v>25</c:v>
                </c:pt>
                <c:pt idx="103">
                  <c:v>56</c:v>
                </c:pt>
                <c:pt idx="104">
                  <c:v>42</c:v>
                </c:pt>
                <c:pt idx="105">
                  <c:v>39</c:v>
                </c:pt>
                <c:pt idx="106">
                  <c:v>58</c:v>
                </c:pt>
                <c:pt idx="107">
                  <c:v>129</c:v>
                </c:pt>
                <c:pt idx="108">
                  <c:v>22</c:v>
                </c:pt>
                <c:pt idx="109">
                  <c:v>9</c:v>
                </c:pt>
                <c:pt idx="110">
                  <c:v>40</c:v>
                </c:pt>
                <c:pt idx="111">
                  <c:v>37</c:v>
                </c:pt>
                <c:pt idx="112">
                  <c:v>42</c:v>
                </c:pt>
                <c:pt idx="113">
                  <c:v>29</c:v>
                </c:pt>
                <c:pt idx="114">
                  <c:v>58</c:v>
                </c:pt>
                <c:pt idx="115">
                  <c:v>9</c:v>
                </c:pt>
                <c:pt idx="116">
                  <c:v>11</c:v>
                </c:pt>
                <c:pt idx="117">
                  <c:v>22</c:v>
                </c:pt>
                <c:pt idx="118">
                  <c:v>24</c:v>
                </c:pt>
                <c:pt idx="119">
                  <c:v>35</c:v>
                </c:pt>
                <c:pt idx="120">
                  <c:v>25</c:v>
                </c:pt>
                <c:pt idx="121">
                  <c:v>36</c:v>
                </c:pt>
                <c:pt idx="122">
                  <c:v>12</c:v>
                </c:pt>
                <c:pt idx="123">
                  <c:v>11</c:v>
                </c:pt>
                <c:pt idx="124">
                  <c:v>18</c:v>
                </c:pt>
                <c:pt idx="125">
                  <c:v>18</c:v>
                </c:pt>
                <c:pt idx="126">
                  <c:v>27</c:v>
                </c:pt>
                <c:pt idx="127">
                  <c:v>19</c:v>
                </c:pt>
                <c:pt idx="128">
                  <c:v>45</c:v>
                </c:pt>
                <c:pt idx="129">
                  <c:v>1</c:v>
                </c:pt>
                <c:pt idx="130">
                  <c:v>1</c:v>
                </c:pt>
                <c:pt idx="131">
                  <c:v>20</c:v>
                </c:pt>
                <c:pt idx="132">
                  <c:v>13</c:v>
                </c:pt>
                <c:pt idx="133">
                  <c:v>20</c:v>
                </c:pt>
                <c:pt idx="134">
                  <c:v>22</c:v>
                </c:pt>
                <c:pt idx="135">
                  <c:v>24</c:v>
                </c:pt>
                <c:pt idx="136">
                  <c:v>9</c:v>
                </c:pt>
                <c:pt idx="137">
                  <c:v>3</c:v>
                </c:pt>
                <c:pt idx="138">
                  <c:v>17</c:v>
                </c:pt>
                <c:pt idx="139">
                  <c:v>30</c:v>
                </c:pt>
                <c:pt idx="140">
                  <c:v>28</c:v>
                </c:pt>
                <c:pt idx="141">
                  <c:v>59</c:v>
                </c:pt>
                <c:pt idx="142">
                  <c:v>67</c:v>
                </c:pt>
                <c:pt idx="143">
                  <c:v>24</c:v>
                </c:pt>
                <c:pt idx="144">
                  <c:v>20</c:v>
                </c:pt>
                <c:pt idx="145">
                  <c:v>70</c:v>
                </c:pt>
                <c:pt idx="146">
                  <c:v>68</c:v>
                </c:pt>
                <c:pt idx="147">
                  <c:v>63</c:v>
                </c:pt>
                <c:pt idx="148">
                  <c:v>105</c:v>
                </c:pt>
                <c:pt idx="149">
                  <c:v>106</c:v>
                </c:pt>
                <c:pt idx="150">
                  <c:v>43</c:v>
                </c:pt>
                <c:pt idx="151">
                  <c:v>28</c:v>
                </c:pt>
                <c:pt idx="152">
                  <c:v>129</c:v>
                </c:pt>
                <c:pt idx="153">
                  <c:v>83</c:v>
                </c:pt>
                <c:pt idx="154">
                  <c:v>145</c:v>
                </c:pt>
                <c:pt idx="155">
                  <c:v>169</c:v>
                </c:pt>
                <c:pt idx="156">
                  <c:v>202</c:v>
                </c:pt>
                <c:pt idx="157">
                  <c:v>80</c:v>
                </c:pt>
                <c:pt idx="158">
                  <c:v>51</c:v>
                </c:pt>
                <c:pt idx="159">
                  <c:v>184</c:v>
                </c:pt>
                <c:pt idx="160">
                  <c:v>143</c:v>
                </c:pt>
                <c:pt idx="161">
                  <c:v>163</c:v>
                </c:pt>
                <c:pt idx="162">
                  <c:v>274</c:v>
                </c:pt>
                <c:pt idx="163">
                  <c:v>336</c:v>
                </c:pt>
                <c:pt idx="164">
                  <c:v>208</c:v>
                </c:pt>
                <c:pt idx="165">
                  <c:v>217</c:v>
                </c:pt>
                <c:pt idx="166">
                  <c:v>308</c:v>
                </c:pt>
                <c:pt idx="167">
                  <c:v>302</c:v>
                </c:pt>
                <c:pt idx="168">
                  <c:v>360</c:v>
                </c:pt>
                <c:pt idx="169">
                  <c:v>317</c:v>
                </c:pt>
                <c:pt idx="170">
                  <c:v>399</c:v>
                </c:pt>
                <c:pt idx="171">
                  <c:v>251</c:v>
                </c:pt>
                <c:pt idx="172">
                  <c:v>216</c:v>
                </c:pt>
                <c:pt idx="173">
                  <c:v>319</c:v>
                </c:pt>
                <c:pt idx="174">
                  <c:v>332</c:v>
                </c:pt>
                <c:pt idx="175">
                  <c:v>294</c:v>
                </c:pt>
                <c:pt idx="176">
                  <c:v>382</c:v>
                </c:pt>
                <c:pt idx="177">
                  <c:v>346</c:v>
                </c:pt>
                <c:pt idx="178">
                  <c:v>255</c:v>
                </c:pt>
                <c:pt idx="179">
                  <c:v>229</c:v>
                </c:pt>
                <c:pt idx="180">
                  <c:v>332</c:v>
                </c:pt>
                <c:pt idx="181">
                  <c:v>311</c:v>
                </c:pt>
                <c:pt idx="182">
                  <c:v>310</c:v>
                </c:pt>
                <c:pt idx="183">
                  <c:v>368</c:v>
                </c:pt>
                <c:pt idx="184">
                  <c:v>342</c:v>
                </c:pt>
                <c:pt idx="185">
                  <c:v>236</c:v>
                </c:pt>
                <c:pt idx="186">
                  <c:v>223</c:v>
                </c:pt>
                <c:pt idx="187">
                  <c:v>232</c:v>
                </c:pt>
                <c:pt idx="188">
                  <c:v>300</c:v>
                </c:pt>
                <c:pt idx="189">
                  <c:v>344</c:v>
                </c:pt>
                <c:pt idx="190">
                  <c:v>329</c:v>
                </c:pt>
                <c:pt idx="191">
                  <c:v>555</c:v>
                </c:pt>
                <c:pt idx="192">
                  <c:v>261</c:v>
                </c:pt>
                <c:pt idx="193">
                  <c:v>211</c:v>
                </c:pt>
                <c:pt idx="194">
                  <c:v>298</c:v>
                </c:pt>
                <c:pt idx="195">
                  <c:v>337</c:v>
                </c:pt>
                <c:pt idx="196">
                  <c:v>451</c:v>
                </c:pt>
                <c:pt idx="197">
                  <c:v>440</c:v>
                </c:pt>
                <c:pt idx="198">
                  <c:v>1079</c:v>
                </c:pt>
                <c:pt idx="199">
                  <c:v>777</c:v>
                </c:pt>
                <c:pt idx="200">
                  <c:v>1134</c:v>
                </c:pt>
                <c:pt idx="201">
                  <c:v>1828</c:v>
                </c:pt>
                <c:pt idx="202">
                  <c:v>3040</c:v>
                </c:pt>
                <c:pt idx="203">
                  <c:v>2621</c:v>
                </c:pt>
                <c:pt idx="204">
                  <c:v>1302</c:v>
                </c:pt>
                <c:pt idx="205">
                  <c:v>1299</c:v>
                </c:pt>
                <c:pt idx="206">
                  <c:v>1298</c:v>
                </c:pt>
                <c:pt idx="207">
                  <c:v>1298</c:v>
                </c:pt>
                <c:pt idx="208">
                  <c:v>1299</c:v>
                </c:pt>
                <c:pt idx="209">
                  <c:v>1300</c:v>
                </c:pt>
                <c:pt idx="210">
                  <c:v>1301</c:v>
                </c:pt>
                <c:pt idx="211">
                  <c:v>1301</c:v>
                </c:pt>
                <c:pt idx="212">
                  <c:v>1300</c:v>
                </c:pt>
                <c:pt idx="213">
                  <c:v>1298</c:v>
                </c:pt>
                <c:pt idx="214">
                  <c:v>2921</c:v>
                </c:pt>
                <c:pt idx="215">
                  <c:v>2924</c:v>
                </c:pt>
                <c:pt idx="216">
                  <c:v>2925</c:v>
                </c:pt>
                <c:pt idx="217">
                  <c:v>2925</c:v>
                </c:pt>
                <c:pt idx="218">
                  <c:v>2926</c:v>
                </c:pt>
                <c:pt idx="219">
                  <c:v>2931</c:v>
                </c:pt>
                <c:pt idx="220">
                  <c:v>2921</c:v>
                </c:pt>
                <c:pt idx="221">
                  <c:v>2921</c:v>
                </c:pt>
                <c:pt idx="222">
                  <c:v>2924</c:v>
                </c:pt>
                <c:pt idx="223">
                  <c:v>2928</c:v>
                </c:pt>
                <c:pt idx="224">
                  <c:v>2926</c:v>
                </c:pt>
                <c:pt idx="225">
                  <c:v>3415</c:v>
                </c:pt>
                <c:pt idx="226">
                  <c:v>3418</c:v>
                </c:pt>
                <c:pt idx="227">
                  <c:v>3409</c:v>
                </c:pt>
                <c:pt idx="228">
                  <c:v>3408</c:v>
                </c:pt>
                <c:pt idx="229">
                  <c:v>3413</c:v>
                </c:pt>
                <c:pt idx="230">
                  <c:v>3410</c:v>
                </c:pt>
                <c:pt idx="231">
                  <c:v>3411</c:v>
                </c:pt>
                <c:pt idx="232">
                  <c:v>3413</c:v>
                </c:pt>
                <c:pt idx="233">
                  <c:v>3409</c:v>
                </c:pt>
                <c:pt idx="234">
                  <c:v>3409</c:v>
                </c:pt>
                <c:pt idx="235">
                  <c:v>3409</c:v>
                </c:pt>
                <c:pt idx="236">
                  <c:v>3410</c:v>
                </c:pt>
                <c:pt idx="237">
                  <c:v>3410</c:v>
                </c:pt>
                <c:pt idx="238">
                  <c:v>3408</c:v>
                </c:pt>
                <c:pt idx="239">
                  <c:v>3408</c:v>
                </c:pt>
                <c:pt idx="240">
                  <c:v>3410</c:v>
                </c:pt>
                <c:pt idx="241">
                  <c:v>3408</c:v>
                </c:pt>
                <c:pt idx="242">
                  <c:v>3409</c:v>
                </c:pt>
                <c:pt idx="243">
                  <c:v>3409</c:v>
                </c:pt>
                <c:pt idx="244">
                  <c:v>34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85-47C2-92CB-D22E4A4C65D5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5 20-24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C$5:$C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4</c:v>
                </c:pt>
                <c:pt idx="19">
                  <c:v>66</c:v>
                </c:pt>
                <c:pt idx="20">
                  <c:v>76</c:v>
                </c:pt>
                <c:pt idx="21">
                  <c:v>75</c:v>
                </c:pt>
                <c:pt idx="22">
                  <c:v>56</c:v>
                </c:pt>
                <c:pt idx="23">
                  <c:v>27</c:v>
                </c:pt>
                <c:pt idx="24">
                  <c:v>24</c:v>
                </c:pt>
                <c:pt idx="25">
                  <c:v>28</c:v>
                </c:pt>
                <c:pt idx="26">
                  <c:v>81</c:v>
                </c:pt>
                <c:pt idx="27">
                  <c:v>99</c:v>
                </c:pt>
                <c:pt idx="28">
                  <c:v>104</c:v>
                </c:pt>
                <c:pt idx="29">
                  <c:v>160</c:v>
                </c:pt>
                <c:pt idx="30">
                  <c:v>200</c:v>
                </c:pt>
                <c:pt idx="31">
                  <c:v>27</c:v>
                </c:pt>
                <c:pt idx="32">
                  <c:v>35</c:v>
                </c:pt>
                <c:pt idx="33">
                  <c:v>258</c:v>
                </c:pt>
                <c:pt idx="34">
                  <c:v>308</c:v>
                </c:pt>
                <c:pt idx="35">
                  <c:v>287</c:v>
                </c:pt>
                <c:pt idx="36">
                  <c:v>359</c:v>
                </c:pt>
                <c:pt idx="37">
                  <c:v>293</c:v>
                </c:pt>
                <c:pt idx="38">
                  <c:v>35</c:v>
                </c:pt>
                <c:pt idx="39">
                  <c:v>43</c:v>
                </c:pt>
                <c:pt idx="40">
                  <c:v>278</c:v>
                </c:pt>
                <c:pt idx="41">
                  <c:v>189</c:v>
                </c:pt>
                <c:pt idx="42">
                  <c:v>186</c:v>
                </c:pt>
                <c:pt idx="43">
                  <c:v>186</c:v>
                </c:pt>
                <c:pt idx="44">
                  <c:v>197</c:v>
                </c:pt>
                <c:pt idx="45">
                  <c:v>33</c:v>
                </c:pt>
                <c:pt idx="46">
                  <c:v>4</c:v>
                </c:pt>
                <c:pt idx="47">
                  <c:v>134</c:v>
                </c:pt>
                <c:pt idx="48">
                  <c:v>162</c:v>
                </c:pt>
                <c:pt idx="49">
                  <c:v>117</c:v>
                </c:pt>
                <c:pt idx="50">
                  <c:v>109</c:v>
                </c:pt>
                <c:pt idx="51">
                  <c:v>95</c:v>
                </c:pt>
                <c:pt idx="52">
                  <c:v>2</c:v>
                </c:pt>
                <c:pt idx="53">
                  <c:v>4</c:v>
                </c:pt>
                <c:pt idx="54">
                  <c:v>99</c:v>
                </c:pt>
                <c:pt idx="55">
                  <c:v>79</c:v>
                </c:pt>
                <c:pt idx="56">
                  <c:v>69</c:v>
                </c:pt>
                <c:pt idx="57">
                  <c:v>90</c:v>
                </c:pt>
                <c:pt idx="58">
                  <c:v>70</c:v>
                </c:pt>
                <c:pt idx="59">
                  <c:v>2</c:v>
                </c:pt>
                <c:pt idx="60">
                  <c:v>2</c:v>
                </c:pt>
                <c:pt idx="61">
                  <c:v>46</c:v>
                </c:pt>
                <c:pt idx="62">
                  <c:v>35</c:v>
                </c:pt>
                <c:pt idx="63">
                  <c:v>51</c:v>
                </c:pt>
                <c:pt idx="64">
                  <c:v>54</c:v>
                </c:pt>
                <c:pt idx="65">
                  <c:v>71</c:v>
                </c:pt>
                <c:pt idx="66">
                  <c:v>9</c:v>
                </c:pt>
                <c:pt idx="67">
                  <c:v>5</c:v>
                </c:pt>
                <c:pt idx="68">
                  <c:v>58</c:v>
                </c:pt>
                <c:pt idx="69">
                  <c:v>64</c:v>
                </c:pt>
                <c:pt idx="70">
                  <c:v>99</c:v>
                </c:pt>
                <c:pt idx="71">
                  <c:v>119</c:v>
                </c:pt>
                <c:pt idx="72">
                  <c:v>127</c:v>
                </c:pt>
                <c:pt idx="73">
                  <c:v>11</c:v>
                </c:pt>
                <c:pt idx="74">
                  <c:v>11</c:v>
                </c:pt>
                <c:pt idx="75">
                  <c:v>125</c:v>
                </c:pt>
                <c:pt idx="76">
                  <c:v>139</c:v>
                </c:pt>
                <c:pt idx="77">
                  <c:v>156</c:v>
                </c:pt>
                <c:pt idx="78">
                  <c:v>160</c:v>
                </c:pt>
                <c:pt idx="79">
                  <c:v>200</c:v>
                </c:pt>
                <c:pt idx="80">
                  <c:v>25</c:v>
                </c:pt>
                <c:pt idx="81">
                  <c:v>13</c:v>
                </c:pt>
                <c:pt idx="82">
                  <c:v>138</c:v>
                </c:pt>
                <c:pt idx="83">
                  <c:v>167</c:v>
                </c:pt>
                <c:pt idx="84">
                  <c:v>146</c:v>
                </c:pt>
                <c:pt idx="85">
                  <c:v>155</c:v>
                </c:pt>
                <c:pt idx="86">
                  <c:v>210</c:v>
                </c:pt>
                <c:pt idx="87">
                  <c:v>44</c:v>
                </c:pt>
                <c:pt idx="88">
                  <c:v>48</c:v>
                </c:pt>
                <c:pt idx="89">
                  <c:v>199</c:v>
                </c:pt>
                <c:pt idx="90">
                  <c:v>256</c:v>
                </c:pt>
                <c:pt idx="91">
                  <c:v>390</c:v>
                </c:pt>
                <c:pt idx="92">
                  <c:v>435</c:v>
                </c:pt>
                <c:pt idx="93">
                  <c:v>110</c:v>
                </c:pt>
                <c:pt idx="94">
                  <c:v>150</c:v>
                </c:pt>
                <c:pt idx="95">
                  <c:v>86</c:v>
                </c:pt>
                <c:pt idx="96">
                  <c:v>73</c:v>
                </c:pt>
                <c:pt idx="97">
                  <c:v>553</c:v>
                </c:pt>
                <c:pt idx="98">
                  <c:v>306</c:v>
                </c:pt>
                <c:pt idx="99">
                  <c:v>364</c:v>
                </c:pt>
                <c:pt idx="100">
                  <c:v>422</c:v>
                </c:pt>
                <c:pt idx="101">
                  <c:v>169</c:v>
                </c:pt>
                <c:pt idx="102">
                  <c:v>105</c:v>
                </c:pt>
                <c:pt idx="103">
                  <c:v>263</c:v>
                </c:pt>
                <c:pt idx="104">
                  <c:v>288</c:v>
                </c:pt>
                <c:pt idx="105">
                  <c:v>270</c:v>
                </c:pt>
                <c:pt idx="106">
                  <c:v>271</c:v>
                </c:pt>
                <c:pt idx="107">
                  <c:v>336</c:v>
                </c:pt>
                <c:pt idx="108">
                  <c:v>117</c:v>
                </c:pt>
                <c:pt idx="109">
                  <c:v>51</c:v>
                </c:pt>
                <c:pt idx="110">
                  <c:v>184</c:v>
                </c:pt>
                <c:pt idx="111">
                  <c:v>197</c:v>
                </c:pt>
                <c:pt idx="112">
                  <c:v>232</c:v>
                </c:pt>
                <c:pt idx="113">
                  <c:v>284</c:v>
                </c:pt>
                <c:pt idx="114">
                  <c:v>252</c:v>
                </c:pt>
                <c:pt idx="115">
                  <c:v>104</c:v>
                </c:pt>
                <c:pt idx="116">
                  <c:v>79</c:v>
                </c:pt>
                <c:pt idx="117">
                  <c:v>89</c:v>
                </c:pt>
                <c:pt idx="118">
                  <c:v>128</c:v>
                </c:pt>
                <c:pt idx="119">
                  <c:v>168</c:v>
                </c:pt>
                <c:pt idx="120">
                  <c:v>218</c:v>
                </c:pt>
                <c:pt idx="121">
                  <c:v>153</c:v>
                </c:pt>
                <c:pt idx="122">
                  <c:v>36</c:v>
                </c:pt>
                <c:pt idx="123">
                  <c:v>27</c:v>
                </c:pt>
                <c:pt idx="124">
                  <c:v>85</c:v>
                </c:pt>
                <c:pt idx="125">
                  <c:v>73</c:v>
                </c:pt>
                <c:pt idx="126">
                  <c:v>84</c:v>
                </c:pt>
                <c:pt idx="127">
                  <c:v>99</c:v>
                </c:pt>
                <c:pt idx="128">
                  <c:v>131</c:v>
                </c:pt>
                <c:pt idx="129">
                  <c:v>28</c:v>
                </c:pt>
                <c:pt idx="130">
                  <c:v>13</c:v>
                </c:pt>
                <c:pt idx="131">
                  <c:v>78</c:v>
                </c:pt>
                <c:pt idx="132">
                  <c:v>79</c:v>
                </c:pt>
                <c:pt idx="133">
                  <c:v>66</c:v>
                </c:pt>
                <c:pt idx="134">
                  <c:v>113</c:v>
                </c:pt>
                <c:pt idx="135">
                  <c:v>123</c:v>
                </c:pt>
                <c:pt idx="136">
                  <c:v>64</c:v>
                </c:pt>
                <c:pt idx="137">
                  <c:v>18</c:v>
                </c:pt>
                <c:pt idx="138">
                  <c:v>67</c:v>
                </c:pt>
                <c:pt idx="139">
                  <c:v>116</c:v>
                </c:pt>
                <c:pt idx="140">
                  <c:v>156</c:v>
                </c:pt>
                <c:pt idx="141">
                  <c:v>299</c:v>
                </c:pt>
                <c:pt idx="142">
                  <c:v>345</c:v>
                </c:pt>
                <c:pt idx="143">
                  <c:v>141</c:v>
                </c:pt>
                <c:pt idx="144">
                  <c:v>108</c:v>
                </c:pt>
                <c:pt idx="145">
                  <c:v>293</c:v>
                </c:pt>
                <c:pt idx="146">
                  <c:v>302</c:v>
                </c:pt>
                <c:pt idx="147">
                  <c:v>315</c:v>
                </c:pt>
                <c:pt idx="148">
                  <c:v>508</c:v>
                </c:pt>
                <c:pt idx="149">
                  <c:v>533</c:v>
                </c:pt>
                <c:pt idx="150">
                  <c:v>218</c:v>
                </c:pt>
                <c:pt idx="151">
                  <c:v>230</c:v>
                </c:pt>
                <c:pt idx="152">
                  <c:v>546</c:v>
                </c:pt>
                <c:pt idx="153">
                  <c:v>489</c:v>
                </c:pt>
                <c:pt idx="154">
                  <c:v>489</c:v>
                </c:pt>
                <c:pt idx="155">
                  <c:v>603</c:v>
                </c:pt>
                <c:pt idx="156">
                  <c:v>907</c:v>
                </c:pt>
                <c:pt idx="157">
                  <c:v>241</c:v>
                </c:pt>
                <c:pt idx="158">
                  <c:v>127</c:v>
                </c:pt>
                <c:pt idx="159">
                  <c:v>600</c:v>
                </c:pt>
                <c:pt idx="160">
                  <c:v>556</c:v>
                </c:pt>
                <c:pt idx="161">
                  <c:v>483</c:v>
                </c:pt>
                <c:pt idx="162">
                  <c:v>679</c:v>
                </c:pt>
                <c:pt idx="163">
                  <c:v>906</c:v>
                </c:pt>
                <c:pt idx="164">
                  <c:v>442</c:v>
                </c:pt>
                <c:pt idx="165">
                  <c:v>439</c:v>
                </c:pt>
                <c:pt idx="166">
                  <c:v>691</c:v>
                </c:pt>
                <c:pt idx="167">
                  <c:v>714</c:v>
                </c:pt>
                <c:pt idx="168">
                  <c:v>746</c:v>
                </c:pt>
                <c:pt idx="169">
                  <c:v>821</c:v>
                </c:pt>
                <c:pt idx="170">
                  <c:v>973</c:v>
                </c:pt>
                <c:pt idx="171">
                  <c:v>531</c:v>
                </c:pt>
                <c:pt idx="172">
                  <c:v>469</c:v>
                </c:pt>
                <c:pt idx="173">
                  <c:v>711</c:v>
                </c:pt>
                <c:pt idx="174">
                  <c:v>796</c:v>
                </c:pt>
                <c:pt idx="175">
                  <c:v>852</c:v>
                </c:pt>
                <c:pt idx="176">
                  <c:v>863</c:v>
                </c:pt>
                <c:pt idx="177">
                  <c:v>825</c:v>
                </c:pt>
                <c:pt idx="178">
                  <c:v>659</c:v>
                </c:pt>
                <c:pt idx="179">
                  <c:v>475</c:v>
                </c:pt>
                <c:pt idx="180">
                  <c:v>685</c:v>
                </c:pt>
                <c:pt idx="181">
                  <c:v>796</c:v>
                </c:pt>
                <c:pt idx="182">
                  <c:v>806</c:v>
                </c:pt>
                <c:pt idx="183">
                  <c:v>908</c:v>
                </c:pt>
                <c:pt idx="184">
                  <c:v>901</c:v>
                </c:pt>
                <c:pt idx="185">
                  <c:v>483</c:v>
                </c:pt>
                <c:pt idx="186">
                  <c:v>436</c:v>
                </c:pt>
                <c:pt idx="187">
                  <c:v>706</c:v>
                </c:pt>
                <c:pt idx="188">
                  <c:v>719</c:v>
                </c:pt>
                <c:pt idx="189">
                  <c:v>990</c:v>
                </c:pt>
                <c:pt idx="190">
                  <c:v>909</c:v>
                </c:pt>
                <c:pt idx="191">
                  <c:v>933</c:v>
                </c:pt>
                <c:pt idx="192">
                  <c:v>549</c:v>
                </c:pt>
                <c:pt idx="193">
                  <c:v>421</c:v>
                </c:pt>
                <c:pt idx="194">
                  <c:v>764</c:v>
                </c:pt>
                <c:pt idx="195">
                  <c:v>928</c:v>
                </c:pt>
                <c:pt idx="196">
                  <c:v>1069</c:v>
                </c:pt>
                <c:pt idx="197">
                  <c:v>1018</c:v>
                </c:pt>
                <c:pt idx="198">
                  <c:v>1793</c:v>
                </c:pt>
                <c:pt idx="199">
                  <c:v>1619</c:v>
                </c:pt>
                <c:pt idx="200">
                  <c:v>1806</c:v>
                </c:pt>
                <c:pt idx="201">
                  <c:v>3324</c:v>
                </c:pt>
                <c:pt idx="202">
                  <c:v>4613</c:v>
                </c:pt>
                <c:pt idx="203">
                  <c:v>4091</c:v>
                </c:pt>
                <c:pt idx="204">
                  <c:v>2187</c:v>
                </c:pt>
                <c:pt idx="205">
                  <c:v>2190</c:v>
                </c:pt>
                <c:pt idx="206">
                  <c:v>2177</c:v>
                </c:pt>
                <c:pt idx="207">
                  <c:v>2176</c:v>
                </c:pt>
                <c:pt idx="208">
                  <c:v>2181</c:v>
                </c:pt>
                <c:pt idx="209">
                  <c:v>2189</c:v>
                </c:pt>
                <c:pt idx="210">
                  <c:v>2182</c:v>
                </c:pt>
                <c:pt idx="211">
                  <c:v>2192</c:v>
                </c:pt>
                <c:pt idx="212">
                  <c:v>2187</c:v>
                </c:pt>
                <c:pt idx="213">
                  <c:v>2178</c:v>
                </c:pt>
                <c:pt idx="214">
                  <c:v>4897</c:v>
                </c:pt>
                <c:pt idx="215">
                  <c:v>4906</c:v>
                </c:pt>
                <c:pt idx="216">
                  <c:v>4905</c:v>
                </c:pt>
                <c:pt idx="217">
                  <c:v>4920</c:v>
                </c:pt>
                <c:pt idx="218">
                  <c:v>4914</c:v>
                </c:pt>
                <c:pt idx="219">
                  <c:v>4919</c:v>
                </c:pt>
                <c:pt idx="220">
                  <c:v>4899</c:v>
                </c:pt>
                <c:pt idx="221">
                  <c:v>4901</c:v>
                </c:pt>
                <c:pt idx="222">
                  <c:v>4915</c:v>
                </c:pt>
                <c:pt idx="223">
                  <c:v>4930</c:v>
                </c:pt>
                <c:pt idx="224">
                  <c:v>4929</c:v>
                </c:pt>
                <c:pt idx="225">
                  <c:v>5731</c:v>
                </c:pt>
                <c:pt idx="226">
                  <c:v>5754</c:v>
                </c:pt>
                <c:pt idx="227">
                  <c:v>5719</c:v>
                </c:pt>
                <c:pt idx="228">
                  <c:v>5715</c:v>
                </c:pt>
                <c:pt idx="229">
                  <c:v>5741</c:v>
                </c:pt>
                <c:pt idx="230">
                  <c:v>2741</c:v>
                </c:pt>
                <c:pt idx="231">
                  <c:v>2741</c:v>
                </c:pt>
                <c:pt idx="232">
                  <c:v>2742</c:v>
                </c:pt>
                <c:pt idx="233">
                  <c:v>2737</c:v>
                </c:pt>
                <c:pt idx="234">
                  <c:v>2723</c:v>
                </c:pt>
                <c:pt idx="235">
                  <c:v>2721</c:v>
                </c:pt>
                <c:pt idx="236">
                  <c:v>2731</c:v>
                </c:pt>
                <c:pt idx="237">
                  <c:v>2727</c:v>
                </c:pt>
                <c:pt idx="238">
                  <c:v>2732</c:v>
                </c:pt>
                <c:pt idx="239">
                  <c:v>2731</c:v>
                </c:pt>
                <c:pt idx="240">
                  <c:v>2730</c:v>
                </c:pt>
                <c:pt idx="241">
                  <c:v>2722</c:v>
                </c:pt>
                <c:pt idx="242">
                  <c:v>2721</c:v>
                </c:pt>
                <c:pt idx="243">
                  <c:v>2728</c:v>
                </c:pt>
                <c:pt idx="244">
                  <c:v>27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D85-47C2-92CB-D22E4A4C65D5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6 25-2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D$5:$D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69</c:v>
                </c:pt>
                <c:pt idx="19">
                  <c:v>144</c:v>
                </c:pt>
                <c:pt idx="20">
                  <c:v>223</c:v>
                </c:pt>
                <c:pt idx="21">
                  <c:v>224</c:v>
                </c:pt>
                <c:pt idx="22">
                  <c:v>162</c:v>
                </c:pt>
                <c:pt idx="23">
                  <c:v>74</c:v>
                </c:pt>
                <c:pt idx="24">
                  <c:v>77</c:v>
                </c:pt>
                <c:pt idx="25">
                  <c:v>78</c:v>
                </c:pt>
                <c:pt idx="26">
                  <c:v>243</c:v>
                </c:pt>
                <c:pt idx="27">
                  <c:v>301</c:v>
                </c:pt>
                <c:pt idx="28">
                  <c:v>373</c:v>
                </c:pt>
                <c:pt idx="29">
                  <c:v>465</c:v>
                </c:pt>
                <c:pt idx="30">
                  <c:v>538</c:v>
                </c:pt>
                <c:pt idx="31">
                  <c:v>65</c:v>
                </c:pt>
                <c:pt idx="32">
                  <c:v>68</c:v>
                </c:pt>
                <c:pt idx="33">
                  <c:v>548</c:v>
                </c:pt>
                <c:pt idx="34">
                  <c:v>584</c:v>
                </c:pt>
                <c:pt idx="35">
                  <c:v>566</c:v>
                </c:pt>
                <c:pt idx="36">
                  <c:v>646</c:v>
                </c:pt>
                <c:pt idx="37">
                  <c:v>521</c:v>
                </c:pt>
                <c:pt idx="38">
                  <c:v>77</c:v>
                </c:pt>
                <c:pt idx="39">
                  <c:v>77</c:v>
                </c:pt>
                <c:pt idx="40">
                  <c:v>401</c:v>
                </c:pt>
                <c:pt idx="41">
                  <c:v>329</c:v>
                </c:pt>
                <c:pt idx="42">
                  <c:v>323</c:v>
                </c:pt>
                <c:pt idx="43">
                  <c:v>349</c:v>
                </c:pt>
                <c:pt idx="44">
                  <c:v>322</c:v>
                </c:pt>
                <c:pt idx="45">
                  <c:v>35</c:v>
                </c:pt>
                <c:pt idx="46">
                  <c:v>4</c:v>
                </c:pt>
                <c:pt idx="47">
                  <c:v>189</c:v>
                </c:pt>
                <c:pt idx="48">
                  <c:v>200</c:v>
                </c:pt>
                <c:pt idx="49">
                  <c:v>161</c:v>
                </c:pt>
                <c:pt idx="50">
                  <c:v>160</c:v>
                </c:pt>
                <c:pt idx="51">
                  <c:v>161</c:v>
                </c:pt>
                <c:pt idx="52">
                  <c:v>8</c:v>
                </c:pt>
                <c:pt idx="53">
                  <c:v>4</c:v>
                </c:pt>
                <c:pt idx="54">
                  <c:v>110</c:v>
                </c:pt>
                <c:pt idx="55">
                  <c:v>126</c:v>
                </c:pt>
                <c:pt idx="56">
                  <c:v>109</c:v>
                </c:pt>
                <c:pt idx="57">
                  <c:v>120</c:v>
                </c:pt>
                <c:pt idx="58">
                  <c:v>109</c:v>
                </c:pt>
                <c:pt idx="59">
                  <c:v>2</c:v>
                </c:pt>
                <c:pt idx="60">
                  <c:v>7</c:v>
                </c:pt>
                <c:pt idx="61">
                  <c:v>81</c:v>
                </c:pt>
                <c:pt idx="62">
                  <c:v>77</c:v>
                </c:pt>
                <c:pt idx="63">
                  <c:v>97</c:v>
                </c:pt>
                <c:pt idx="64">
                  <c:v>84</c:v>
                </c:pt>
                <c:pt idx="65">
                  <c:v>108</c:v>
                </c:pt>
                <c:pt idx="66">
                  <c:v>4</c:v>
                </c:pt>
                <c:pt idx="67">
                  <c:v>1</c:v>
                </c:pt>
                <c:pt idx="68">
                  <c:v>91</c:v>
                </c:pt>
                <c:pt idx="69">
                  <c:v>128</c:v>
                </c:pt>
                <c:pt idx="70">
                  <c:v>187</c:v>
                </c:pt>
                <c:pt idx="71">
                  <c:v>185</c:v>
                </c:pt>
                <c:pt idx="72">
                  <c:v>181</c:v>
                </c:pt>
                <c:pt idx="73">
                  <c:v>14</c:v>
                </c:pt>
                <c:pt idx="74">
                  <c:v>19</c:v>
                </c:pt>
                <c:pt idx="75">
                  <c:v>257</c:v>
                </c:pt>
                <c:pt idx="76">
                  <c:v>213</c:v>
                </c:pt>
                <c:pt idx="77">
                  <c:v>239</c:v>
                </c:pt>
                <c:pt idx="78">
                  <c:v>230</c:v>
                </c:pt>
                <c:pt idx="79">
                  <c:v>301</c:v>
                </c:pt>
                <c:pt idx="80">
                  <c:v>34</c:v>
                </c:pt>
                <c:pt idx="81">
                  <c:v>26</c:v>
                </c:pt>
                <c:pt idx="82">
                  <c:v>279</c:v>
                </c:pt>
                <c:pt idx="83">
                  <c:v>295</c:v>
                </c:pt>
                <c:pt idx="84">
                  <c:v>277</c:v>
                </c:pt>
                <c:pt idx="85">
                  <c:v>276</c:v>
                </c:pt>
                <c:pt idx="86">
                  <c:v>377</c:v>
                </c:pt>
                <c:pt idx="87">
                  <c:v>78</c:v>
                </c:pt>
                <c:pt idx="88">
                  <c:v>57</c:v>
                </c:pt>
                <c:pt idx="89">
                  <c:v>386</c:v>
                </c:pt>
                <c:pt idx="90">
                  <c:v>429</c:v>
                </c:pt>
                <c:pt idx="91">
                  <c:v>520</c:v>
                </c:pt>
                <c:pt idx="92">
                  <c:v>576</c:v>
                </c:pt>
                <c:pt idx="93">
                  <c:v>160</c:v>
                </c:pt>
                <c:pt idx="94">
                  <c:v>170</c:v>
                </c:pt>
                <c:pt idx="95">
                  <c:v>126</c:v>
                </c:pt>
                <c:pt idx="96">
                  <c:v>121</c:v>
                </c:pt>
                <c:pt idx="97">
                  <c:v>641</c:v>
                </c:pt>
                <c:pt idx="98">
                  <c:v>385</c:v>
                </c:pt>
                <c:pt idx="99">
                  <c:v>512</c:v>
                </c:pt>
                <c:pt idx="100">
                  <c:v>683</c:v>
                </c:pt>
                <c:pt idx="101">
                  <c:v>226</c:v>
                </c:pt>
                <c:pt idx="102">
                  <c:v>169</c:v>
                </c:pt>
                <c:pt idx="103">
                  <c:v>336</c:v>
                </c:pt>
                <c:pt idx="104">
                  <c:v>402</c:v>
                </c:pt>
                <c:pt idx="105">
                  <c:v>395</c:v>
                </c:pt>
                <c:pt idx="106">
                  <c:v>397</c:v>
                </c:pt>
                <c:pt idx="107">
                  <c:v>494</c:v>
                </c:pt>
                <c:pt idx="108">
                  <c:v>149</c:v>
                </c:pt>
                <c:pt idx="109">
                  <c:v>100</c:v>
                </c:pt>
                <c:pt idx="110">
                  <c:v>231</c:v>
                </c:pt>
                <c:pt idx="111">
                  <c:v>278</c:v>
                </c:pt>
                <c:pt idx="112">
                  <c:v>310</c:v>
                </c:pt>
                <c:pt idx="113">
                  <c:v>423</c:v>
                </c:pt>
                <c:pt idx="114">
                  <c:v>370</c:v>
                </c:pt>
                <c:pt idx="115">
                  <c:v>148</c:v>
                </c:pt>
                <c:pt idx="116">
                  <c:v>98</c:v>
                </c:pt>
                <c:pt idx="117">
                  <c:v>182</c:v>
                </c:pt>
                <c:pt idx="118">
                  <c:v>224</c:v>
                </c:pt>
                <c:pt idx="119">
                  <c:v>304</c:v>
                </c:pt>
                <c:pt idx="120">
                  <c:v>329</c:v>
                </c:pt>
                <c:pt idx="121">
                  <c:v>264</c:v>
                </c:pt>
                <c:pt idx="122">
                  <c:v>43</c:v>
                </c:pt>
                <c:pt idx="123">
                  <c:v>45</c:v>
                </c:pt>
                <c:pt idx="124">
                  <c:v>92</c:v>
                </c:pt>
                <c:pt idx="125">
                  <c:v>123</c:v>
                </c:pt>
                <c:pt idx="126">
                  <c:v>123</c:v>
                </c:pt>
                <c:pt idx="127">
                  <c:v>133</c:v>
                </c:pt>
                <c:pt idx="128">
                  <c:v>209</c:v>
                </c:pt>
                <c:pt idx="129">
                  <c:v>15</c:v>
                </c:pt>
                <c:pt idx="130">
                  <c:v>26</c:v>
                </c:pt>
                <c:pt idx="131">
                  <c:v>102</c:v>
                </c:pt>
                <c:pt idx="132">
                  <c:v>97</c:v>
                </c:pt>
                <c:pt idx="133">
                  <c:v>118</c:v>
                </c:pt>
                <c:pt idx="134">
                  <c:v>134</c:v>
                </c:pt>
                <c:pt idx="135">
                  <c:v>171</c:v>
                </c:pt>
                <c:pt idx="136">
                  <c:v>62</c:v>
                </c:pt>
                <c:pt idx="137">
                  <c:v>20</c:v>
                </c:pt>
                <c:pt idx="138">
                  <c:v>103</c:v>
                </c:pt>
                <c:pt idx="139">
                  <c:v>208</c:v>
                </c:pt>
                <c:pt idx="140">
                  <c:v>208</c:v>
                </c:pt>
                <c:pt idx="141">
                  <c:v>418</c:v>
                </c:pt>
                <c:pt idx="142">
                  <c:v>585</c:v>
                </c:pt>
                <c:pt idx="143">
                  <c:v>204</c:v>
                </c:pt>
                <c:pt idx="144">
                  <c:v>163</c:v>
                </c:pt>
                <c:pt idx="145">
                  <c:v>427</c:v>
                </c:pt>
                <c:pt idx="146">
                  <c:v>519</c:v>
                </c:pt>
                <c:pt idx="147">
                  <c:v>544</c:v>
                </c:pt>
                <c:pt idx="148">
                  <c:v>785</c:v>
                </c:pt>
                <c:pt idx="149">
                  <c:v>885</c:v>
                </c:pt>
                <c:pt idx="150">
                  <c:v>325</c:v>
                </c:pt>
                <c:pt idx="151">
                  <c:v>393</c:v>
                </c:pt>
                <c:pt idx="152">
                  <c:v>807</c:v>
                </c:pt>
                <c:pt idx="153">
                  <c:v>730</c:v>
                </c:pt>
                <c:pt idx="154">
                  <c:v>782</c:v>
                </c:pt>
                <c:pt idx="155">
                  <c:v>929</c:v>
                </c:pt>
                <c:pt idx="156">
                  <c:v>1326</c:v>
                </c:pt>
                <c:pt idx="157">
                  <c:v>357</c:v>
                </c:pt>
                <c:pt idx="158">
                  <c:v>257</c:v>
                </c:pt>
                <c:pt idx="159">
                  <c:v>862</c:v>
                </c:pt>
                <c:pt idx="160">
                  <c:v>738</c:v>
                </c:pt>
                <c:pt idx="161">
                  <c:v>630</c:v>
                </c:pt>
                <c:pt idx="162">
                  <c:v>915</c:v>
                </c:pt>
                <c:pt idx="163">
                  <c:v>1179</c:v>
                </c:pt>
                <c:pt idx="164">
                  <c:v>537</c:v>
                </c:pt>
                <c:pt idx="165">
                  <c:v>510</c:v>
                </c:pt>
                <c:pt idx="166">
                  <c:v>928</c:v>
                </c:pt>
                <c:pt idx="167">
                  <c:v>1012</c:v>
                </c:pt>
                <c:pt idx="168">
                  <c:v>1064</c:v>
                </c:pt>
                <c:pt idx="169">
                  <c:v>1206</c:v>
                </c:pt>
                <c:pt idx="170">
                  <c:v>1354</c:v>
                </c:pt>
                <c:pt idx="171">
                  <c:v>770</c:v>
                </c:pt>
                <c:pt idx="172">
                  <c:v>662</c:v>
                </c:pt>
                <c:pt idx="173">
                  <c:v>1169</c:v>
                </c:pt>
                <c:pt idx="174">
                  <c:v>1166</c:v>
                </c:pt>
                <c:pt idx="175">
                  <c:v>1139</c:v>
                </c:pt>
                <c:pt idx="176">
                  <c:v>1302</c:v>
                </c:pt>
                <c:pt idx="177">
                  <c:v>1205</c:v>
                </c:pt>
                <c:pt idx="178">
                  <c:v>750</c:v>
                </c:pt>
                <c:pt idx="179">
                  <c:v>619</c:v>
                </c:pt>
                <c:pt idx="180">
                  <c:v>1005</c:v>
                </c:pt>
                <c:pt idx="181">
                  <c:v>1059</c:v>
                </c:pt>
                <c:pt idx="182">
                  <c:v>1002</c:v>
                </c:pt>
                <c:pt idx="183">
                  <c:v>1051</c:v>
                </c:pt>
                <c:pt idx="184">
                  <c:v>1074</c:v>
                </c:pt>
                <c:pt idx="185">
                  <c:v>591</c:v>
                </c:pt>
                <c:pt idx="186">
                  <c:v>562</c:v>
                </c:pt>
                <c:pt idx="187">
                  <c:v>866</c:v>
                </c:pt>
                <c:pt idx="188">
                  <c:v>863</c:v>
                </c:pt>
                <c:pt idx="189">
                  <c:v>1146</c:v>
                </c:pt>
                <c:pt idx="190">
                  <c:v>1016</c:v>
                </c:pt>
                <c:pt idx="191">
                  <c:v>1154</c:v>
                </c:pt>
                <c:pt idx="192">
                  <c:v>646</c:v>
                </c:pt>
                <c:pt idx="193">
                  <c:v>487</c:v>
                </c:pt>
                <c:pt idx="194">
                  <c:v>1002</c:v>
                </c:pt>
                <c:pt idx="195">
                  <c:v>1241</c:v>
                </c:pt>
                <c:pt idx="196">
                  <c:v>1206</c:v>
                </c:pt>
                <c:pt idx="197">
                  <c:v>1252</c:v>
                </c:pt>
                <c:pt idx="198">
                  <c:v>2043</c:v>
                </c:pt>
                <c:pt idx="199">
                  <c:v>1764</c:v>
                </c:pt>
                <c:pt idx="200">
                  <c:v>1808</c:v>
                </c:pt>
                <c:pt idx="201">
                  <c:v>4050</c:v>
                </c:pt>
                <c:pt idx="202">
                  <c:v>5185</c:v>
                </c:pt>
                <c:pt idx="203">
                  <c:v>4759</c:v>
                </c:pt>
                <c:pt idx="204">
                  <c:v>2497</c:v>
                </c:pt>
                <c:pt idx="205">
                  <c:v>2494</c:v>
                </c:pt>
                <c:pt idx="206">
                  <c:v>2477</c:v>
                </c:pt>
                <c:pt idx="207">
                  <c:v>2474</c:v>
                </c:pt>
                <c:pt idx="208">
                  <c:v>2482</c:v>
                </c:pt>
                <c:pt idx="209">
                  <c:v>2494</c:v>
                </c:pt>
                <c:pt idx="210">
                  <c:v>2490</c:v>
                </c:pt>
                <c:pt idx="211">
                  <c:v>2491</c:v>
                </c:pt>
                <c:pt idx="212">
                  <c:v>2493</c:v>
                </c:pt>
                <c:pt idx="213">
                  <c:v>2477</c:v>
                </c:pt>
                <c:pt idx="214">
                  <c:v>5568</c:v>
                </c:pt>
                <c:pt idx="215">
                  <c:v>5578</c:v>
                </c:pt>
                <c:pt idx="216">
                  <c:v>5582</c:v>
                </c:pt>
                <c:pt idx="217">
                  <c:v>5594</c:v>
                </c:pt>
                <c:pt idx="218">
                  <c:v>5584</c:v>
                </c:pt>
                <c:pt idx="219">
                  <c:v>5604</c:v>
                </c:pt>
                <c:pt idx="220">
                  <c:v>5569</c:v>
                </c:pt>
                <c:pt idx="221">
                  <c:v>5568</c:v>
                </c:pt>
                <c:pt idx="222">
                  <c:v>5593</c:v>
                </c:pt>
                <c:pt idx="223">
                  <c:v>5598</c:v>
                </c:pt>
                <c:pt idx="224">
                  <c:v>5610</c:v>
                </c:pt>
                <c:pt idx="225">
                  <c:v>6525</c:v>
                </c:pt>
                <c:pt idx="226">
                  <c:v>6536</c:v>
                </c:pt>
                <c:pt idx="227">
                  <c:v>6500</c:v>
                </c:pt>
                <c:pt idx="228">
                  <c:v>6497</c:v>
                </c:pt>
                <c:pt idx="229">
                  <c:v>6526</c:v>
                </c:pt>
                <c:pt idx="230">
                  <c:v>6531</c:v>
                </c:pt>
                <c:pt idx="231">
                  <c:v>6524</c:v>
                </c:pt>
                <c:pt idx="232">
                  <c:v>6526</c:v>
                </c:pt>
                <c:pt idx="233">
                  <c:v>6517</c:v>
                </c:pt>
                <c:pt idx="234">
                  <c:v>6497</c:v>
                </c:pt>
                <c:pt idx="235">
                  <c:v>3094</c:v>
                </c:pt>
                <c:pt idx="236">
                  <c:v>3105</c:v>
                </c:pt>
                <c:pt idx="237">
                  <c:v>3105</c:v>
                </c:pt>
                <c:pt idx="238">
                  <c:v>3112</c:v>
                </c:pt>
                <c:pt idx="239">
                  <c:v>3110</c:v>
                </c:pt>
                <c:pt idx="240">
                  <c:v>3109</c:v>
                </c:pt>
                <c:pt idx="241">
                  <c:v>3095</c:v>
                </c:pt>
                <c:pt idx="242">
                  <c:v>3094</c:v>
                </c:pt>
                <c:pt idx="243">
                  <c:v>3109</c:v>
                </c:pt>
                <c:pt idx="244">
                  <c:v>3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D85-47C2-92CB-D22E4A4C65D5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7 30-3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E$5:$E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70</c:v>
                </c:pt>
                <c:pt idx="19">
                  <c:v>177</c:v>
                </c:pt>
                <c:pt idx="20">
                  <c:v>190</c:v>
                </c:pt>
                <c:pt idx="21">
                  <c:v>199</c:v>
                </c:pt>
                <c:pt idx="22">
                  <c:v>143</c:v>
                </c:pt>
                <c:pt idx="23">
                  <c:v>69</c:v>
                </c:pt>
                <c:pt idx="24">
                  <c:v>55</c:v>
                </c:pt>
                <c:pt idx="25">
                  <c:v>83</c:v>
                </c:pt>
                <c:pt idx="26">
                  <c:v>241</c:v>
                </c:pt>
                <c:pt idx="27">
                  <c:v>354</c:v>
                </c:pt>
                <c:pt idx="28">
                  <c:v>346</c:v>
                </c:pt>
                <c:pt idx="29">
                  <c:v>436</c:v>
                </c:pt>
                <c:pt idx="30">
                  <c:v>554</c:v>
                </c:pt>
                <c:pt idx="31">
                  <c:v>60</c:v>
                </c:pt>
                <c:pt idx="32">
                  <c:v>81</c:v>
                </c:pt>
                <c:pt idx="33">
                  <c:v>527</c:v>
                </c:pt>
                <c:pt idx="34">
                  <c:v>633</c:v>
                </c:pt>
                <c:pt idx="35">
                  <c:v>658</c:v>
                </c:pt>
                <c:pt idx="36">
                  <c:v>752</c:v>
                </c:pt>
                <c:pt idx="37">
                  <c:v>573</c:v>
                </c:pt>
                <c:pt idx="38">
                  <c:v>91</c:v>
                </c:pt>
                <c:pt idx="39">
                  <c:v>75</c:v>
                </c:pt>
                <c:pt idx="40">
                  <c:v>490</c:v>
                </c:pt>
                <c:pt idx="41">
                  <c:v>459</c:v>
                </c:pt>
                <c:pt idx="42">
                  <c:v>360</c:v>
                </c:pt>
                <c:pt idx="43">
                  <c:v>399</c:v>
                </c:pt>
                <c:pt idx="44">
                  <c:v>369</c:v>
                </c:pt>
                <c:pt idx="45">
                  <c:v>43</c:v>
                </c:pt>
                <c:pt idx="46">
                  <c:v>12</c:v>
                </c:pt>
                <c:pt idx="47">
                  <c:v>247</c:v>
                </c:pt>
                <c:pt idx="48">
                  <c:v>183</c:v>
                </c:pt>
                <c:pt idx="49">
                  <c:v>180</c:v>
                </c:pt>
                <c:pt idx="50">
                  <c:v>202</c:v>
                </c:pt>
                <c:pt idx="51">
                  <c:v>148</c:v>
                </c:pt>
                <c:pt idx="52">
                  <c:v>7</c:v>
                </c:pt>
                <c:pt idx="53">
                  <c:v>3</c:v>
                </c:pt>
                <c:pt idx="54">
                  <c:v>153</c:v>
                </c:pt>
                <c:pt idx="55">
                  <c:v>130</c:v>
                </c:pt>
                <c:pt idx="56">
                  <c:v>114</c:v>
                </c:pt>
                <c:pt idx="57">
                  <c:v>130</c:v>
                </c:pt>
                <c:pt idx="58">
                  <c:v>135</c:v>
                </c:pt>
                <c:pt idx="59">
                  <c:v>7</c:v>
                </c:pt>
                <c:pt idx="60">
                  <c:v>4</c:v>
                </c:pt>
                <c:pt idx="61">
                  <c:v>96</c:v>
                </c:pt>
                <c:pt idx="62">
                  <c:v>80</c:v>
                </c:pt>
                <c:pt idx="63">
                  <c:v>126</c:v>
                </c:pt>
                <c:pt idx="64">
                  <c:v>77</c:v>
                </c:pt>
                <c:pt idx="65">
                  <c:v>120</c:v>
                </c:pt>
                <c:pt idx="66">
                  <c:v>3</c:v>
                </c:pt>
                <c:pt idx="67">
                  <c:v>3</c:v>
                </c:pt>
                <c:pt idx="68">
                  <c:v>118</c:v>
                </c:pt>
                <c:pt idx="69">
                  <c:v>137</c:v>
                </c:pt>
                <c:pt idx="70">
                  <c:v>197</c:v>
                </c:pt>
                <c:pt idx="71">
                  <c:v>214</c:v>
                </c:pt>
                <c:pt idx="72">
                  <c:v>228</c:v>
                </c:pt>
                <c:pt idx="73">
                  <c:v>10</c:v>
                </c:pt>
                <c:pt idx="74">
                  <c:v>29</c:v>
                </c:pt>
                <c:pt idx="75">
                  <c:v>248</c:v>
                </c:pt>
                <c:pt idx="76">
                  <c:v>253</c:v>
                </c:pt>
                <c:pt idx="77">
                  <c:v>294</c:v>
                </c:pt>
                <c:pt idx="78">
                  <c:v>301</c:v>
                </c:pt>
                <c:pt idx="79">
                  <c:v>312</c:v>
                </c:pt>
                <c:pt idx="80">
                  <c:v>40</c:v>
                </c:pt>
                <c:pt idx="81">
                  <c:v>38</c:v>
                </c:pt>
                <c:pt idx="82">
                  <c:v>326</c:v>
                </c:pt>
                <c:pt idx="83">
                  <c:v>297</c:v>
                </c:pt>
                <c:pt idx="84">
                  <c:v>366</c:v>
                </c:pt>
                <c:pt idx="85">
                  <c:v>309</c:v>
                </c:pt>
                <c:pt idx="86">
                  <c:v>438</c:v>
                </c:pt>
                <c:pt idx="87">
                  <c:v>77</c:v>
                </c:pt>
                <c:pt idx="88">
                  <c:v>67</c:v>
                </c:pt>
                <c:pt idx="89">
                  <c:v>457</c:v>
                </c:pt>
                <c:pt idx="90">
                  <c:v>504</c:v>
                </c:pt>
                <c:pt idx="91">
                  <c:v>564</c:v>
                </c:pt>
                <c:pt idx="92">
                  <c:v>672</c:v>
                </c:pt>
                <c:pt idx="93">
                  <c:v>202</c:v>
                </c:pt>
                <c:pt idx="94">
                  <c:v>190</c:v>
                </c:pt>
                <c:pt idx="95">
                  <c:v>144</c:v>
                </c:pt>
                <c:pt idx="96">
                  <c:v>140</c:v>
                </c:pt>
                <c:pt idx="97">
                  <c:v>699</c:v>
                </c:pt>
                <c:pt idx="98">
                  <c:v>436</c:v>
                </c:pt>
                <c:pt idx="99">
                  <c:v>561</c:v>
                </c:pt>
                <c:pt idx="100">
                  <c:v>635</c:v>
                </c:pt>
                <c:pt idx="101">
                  <c:v>238</c:v>
                </c:pt>
                <c:pt idx="102">
                  <c:v>151</c:v>
                </c:pt>
                <c:pt idx="103">
                  <c:v>411</c:v>
                </c:pt>
                <c:pt idx="104">
                  <c:v>538</c:v>
                </c:pt>
                <c:pt idx="105">
                  <c:v>472</c:v>
                </c:pt>
                <c:pt idx="106">
                  <c:v>449</c:v>
                </c:pt>
                <c:pt idx="107">
                  <c:v>606</c:v>
                </c:pt>
                <c:pt idx="108">
                  <c:v>229</c:v>
                </c:pt>
                <c:pt idx="109">
                  <c:v>115</c:v>
                </c:pt>
                <c:pt idx="110">
                  <c:v>275</c:v>
                </c:pt>
                <c:pt idx="111">
                  <c:v>304</c:v>
                </c:pt>
                <c:pt idx="112">
                  <c:v>377</c:v>
                </c:pt>
                <c:pt idx="113">
                  <c:v>484</c:v>
                </c:pt>
                <c:pt idx="114">
                  <c:v>460</c:v>
                </c:pt>
                <c:pt idx="115">
                  <c:v>133</c:v>
                </c:pt>
                <c:pt idx="116">
                  <c:v>98</c:v>
                </c:pt>
                <c:pt idx="117">
                  <c:v>181</c:v>
                </c:pt>
                <c:pt idx="118">
                  <c:v>259</c:v>
                </c:pt>
                <c:pt idx="119">
                  <c:v>351</c:v>
                </c:pt>
                <c:pt idx="120">
                  <c:v>471</c:v>
                </c:pt>
                <c:pt idx="121">
                  <c:v>319</c:v>
                </c:pt>
                <c:pt idx="122">
                  <c:v>64</c:v>
                </c:pt>
                <c:pt idx="123">
                  <c:v>47</c:v>
                </c:pt>
                <c:pt idx="124">
                  <c:v>91</c:v>
                </c:pt>
                <c:pt idx="125">
                  <c:v>142</c:v>
                </c:pt>
                <c:pt idx="126">
                  <c:v>168</c:v>
                </c:pt>
                <c:pt idx="127">
                  <c:v>157</c:v>
                </c:pt>
                <c:pt idx="128">
                  <c:v>252</c:v>
                </c:pt>
                <c:pt idx="129">
                  <c:v>31</c:v>
                </c:pt>
                <c:pt idx="130">
                  <c:v>30</c:v>
                </c:pt>
                <c:pt idx="131">
                  <c:v>126</c:v>
                </c:pt>
                <c:pt idx="132">
                  <c:v>154</c:v>
                </c:pt>
                <c:pt idx="133">
                  <c:v>157</c:v>
                </c:pt>
                <c:pt idx="134">
                  <c:v>151</c:v>
                </c:pt>
                <c:pt idx="135">
                  <c:v>191</c:v>
                </c:pt>
                <c:pt idx="136">
                  <c:v>71</c:v>
                </c:pt>
                <c:pt idx="137">
                  <c:v>23</c:v>
                </c:pt>
                <c:pt idx="138">
                  <c:v>134</c:v>
                </c:pt>
                <c:pt idx="139">
                  <c:v>286</c:v>
                </c:pt>
                <c:pt idx="140">
                  <c:v>298</c:v>
                </c:pt>
                <c:pt idx="141">
                  <c:v>481</c:v>
                </c:pt>
                <c:pt idx="142">
                  <c:v>784</c:v>
                </c:pt>
                <c:pt idx="143">
                  <c:v>210</c:v>
                </c:pt>
                <c:pt idx="144">
                  <c:v>169</c:v>
                </c:pt>
                <c:pt idx="145">
                  <c:v>621</c:v>
                </c:pt>
                <c:pt idx="146">
                  <c:v>633</c:v>
                </c:pt>
                <c:pt idx="147">
                  <c:v>693</c:v>
                </c:pt>
                <c:pt idx="148">
                  <c:v>1093</c:v>
                </c:pt>
                <c:pt idx="149">
                  <c:v>1142</c:v>
                </c:pt>
                <c:pt idx="150">
                  <c:v>379</c:v>
                </c:pt>
                <c:pt idx="151">
                  <c:v>421</c:v>
                </c:pt>
                <c:pt idx="152">
                  <c:v>1064</c:v>
                </c:pt>
                <c:pt idx="153">
                  <c:v>955</c:v>
                </c:pt>
                <c:pt idx="154">
                  <c:v>1088</c:v>
                </c:pt>
                <c:pt idx="155">
                  <c:v>1158</c:v>
                </c:pt>
                <c:pt idx="156">
                  <c:v>1637</c:v>
                </c:pt>
                <c:pt idx="157">
                  <c:v>351</c:v>
                </c:pt>
                <c:pt idx="158">
                  <c:v>342</c:v>
                </c:pt>
                <c:pt idx="159">
                  <c:v>1000</c:v>
                </c:pt>
                <c:pt idx="160">
                  <c:v>816</c:v>
                </c:pt>
                <c:pt idx="161">
                  <c:v>828</c:v>
                </c:pt>
                <c:pt idx="162">
                  <c:v>1764</c:v>
                </c:pt>
                <c:pt idx="163">
                  <c:v>2056</c:v>
                </c:pt>
                <c:pt idx="164">
                  <c:v>1202</c:v>
                </c:pt>
                <c:pt idx="165">
                  <c:v>1199</c:v>
                </c:pt>
                <c:pt idx="166">
                  <c:v>1829</c:v>
                </c:pt>
                <c:pt idx="167">
                  <c:v>1844</c:v>
                </c:pt>
                <c:pt idx="168">
                  <c:v>2008</c:v>
                </c:pt>
                <c:pt idx="169">
                  <c:v>2148</c:v>
                </c:pt>
                <c:pt idx="170">
                  <c:v>2363</c:v>
                </c:pt>
                <c:pt idx="171">
                  <c:v>1548</c:v>
                </c:pt>
                <c:pt idx="172">
                  <c:v>1399</c:v>
                </c:pt>
                <c:pt idx="173">
                  <c:v>2045</c:v>
                </c:pt>
                <c:pt idx="174">
                  <c:v>2106</c:v>
                </c:pt>
                <c:pt idx="175">
                  <c:v>2018</c:v>
                </c:pt>
                <c:pt idx="176">
                  <c:v>2099</c:v>
                </c:pt>
                <c:pt idx="177">
                  <c:v>2042</c:v>
                </c:pt>
                <c:pt idx="178">
                  <c:v>1411</c:v>
                </c:pt>
                <c:pt idx="179">
                  <c:v>1297</c:v>
                </c:pt>
                <c:pt idx="180">
                  <c:v>1770</c:v>
                </c:pt>
                <c:pt idx="181">
                  <c:v>1815</c:v>
                </c:pt>
                <c:pt idx="182">
                  <c:v>1827</c:v>
                </c:pt>
                <c:pt idx="183" formatCode="#,##0">
                  <c:v>1832</c:v>
                </c:pt>
                <c:pt idx="184" formatCode="#,##0">
                  <c:v>1855</c:v>
                </c:pt>
                <c:pt idx="185" formatCode="#,##0">
                  <c:v>1279</c:v>
                </c:pt>
                <c:pt idx="186" formatCode="#,##0">
                  <c:v>1168</c:v>
                </c:pt>
                <c:pt idx="187" formatCode="#,##0">
                  <c:v>1602</c:v>
                </c:pt>
                <c:pt idx="188" formatCode="#,##0">
                  <c:v>1611</c:v>
                </c:pt>
                <c:pt idx="189" formatCode="#,##0">
                  <c:v>2328</c:v>
                </c:pt>
                <c:pt idx="190" formatCode="#,##0">
                  <c:v>3114</c:v>
                </c:pt>
                <c:pt idx="191" formatCode="#,##0">
                  <c:v>4077</c:v>
                </c:pt>
                <c:pt idx="192" formatCode="#,##0">
                  <c:v>3196</c:v>
                </c:pt>
                <c:pt idx="193" formatCode="#,##0">
                  <c:v>2225</c:v>
                </c:pt>
                <c:pt idx="194" formatCode="#,##0">
                  <c:v>6136</c:v>
                </c:pt>
                <c:pt idx="195" formatCode="#,##0">
                  <c:v>7425</c:v>
                </c:pt>
                <c:pt idx="196" formatCode="#,##0">
                  <c:v>9008</c:v>
                </c:pt>
                <c:pt idx="197" formatCode="#,##0">
                  <c:v>10065</c:v>
                </c:pt>
                <c:pt idx="198" formatCode="#,##0">
                  <c:v>10215</c:v>
                </c:pt>
                <c:pt idx="199" formatCode="#,##0">
                  <c:v>7095</c:v>
                </c:pt>
                <c:pt idx="200" formatCode="#,##0">
                  <c:v>8471</c:v>
                </c:pt>
                <c:pt idx="201" formatCode="#,##0">
                  <c:v>13253</c:v>
                </c:pt>
                <c:pt idx="202" formatCode="#,##0">
                  <c:v>14189</c:v>
                </c:pt>
                <c:pt idx="203" formatCode="#,##0">
                  <c:v>10809</c:v>
                </c:pt>
                <c:pt idx="204" formatCode="#,##0">
                  <c:v>7415</c:v>
                </c:pt>
                <c:pt idx="205" formatCode="#,##0">
                  <c:v>7426</c:v>
                </c:pt>
                <c:pt idx="206" formatCode="#,##0">
                  <c:v>7401</c:v>
                </c:pt>
                <c:pt idx="207" formatCode="#,##0">
                  <c:v>6477</c:v>
                </c:pt>
                <c:pt idx="208" formatCode="#,##0">
                  <c:v>6494</c:v>
                </c:pt>
                <c:pt idx="209" formatCode="#,##0">
                  <c:v>6512</c:v>
                </c:pt>
                <c:pt idx="210" formatCode="#,##0">
                  <c:v>6496</c:v>
                </c:pt>
                <c:pt idx="211" formatCode="#,##0">
                  <c:v>6500</c:v>
                </c:pt>
                <c:pt idx="212" formatCode="#,##0">
                  <c:v>6487</c:v>
                </c:pt>
                <c:pt idx="213" formatCode="#,##0">
                  <c:v>6477</c:v>
                </c:pt>
                <c:pt idx="214" formatCode="#,##0">
                  <c:v>6477</c:v>
                </c:pt>
                <c:pt idx="215" formatCode="#,##0">
                  <c:v>6495</c:v>
                </c:pt>
                <c:pt idx="216" formatCode="#,##0">
                  <c:v>6505</c:v>
                </c:pt>
                <c:pt idx="217" formatCode="#,##0">
                  <c:v>6508</c:v>
                </c:pt>
                <c:pt idx="218" formatCode="#,##0">
                  <c:v>6510</c:v>
                </c:pt>
                <c:pt idx="219" formatCode="#,##0">
                  <c:v>6537</c:v>
                </c:pt>
                <c:pt idx="220" formatCode="#,##0">
                  <c:v>6474</c:v>
                </c:pt>
                <c:pt idx="221" formatCode="#,##0">
                  <c:v>6474</c:v>
                </c:pt>
                <c:pt idx="222" formatCode="#,##0">
                  <c:v>6534</c:v>
                </c:pt>
                <c:pt idx="223" formatCode="#,##0">
                  <c:v>6531</c:v>
                </c:pt>
                <c:pt idx="224" formatCode="#,##0">
                  <c:v>6541</c:v>
                </c:pt>
                <c:pt idx="225" formatCode="#,##0">
                  <c:v>9295</c:v>
                </c:pt>
                <c:pt idx="226" formatCode="#,##0">
                  <c:v>9327</c:v>
                </c:pt>
                <c:pt idx="227" formatCode="#,##0">
                  <c:v>9254</c:v>
                </c:pt>
                <c:pt idx="228" formatCode="#,##0">
                  <c:v>9249</c:v>
                </c:pt>
                <c:pt idx="229" formatCode="#,##0">
                  <c:v>9282</c:v>
                </c:pt>
                <c:pt idx="230" formatCode="#,##0">
                  <c:v>9300</c:v>
                </c:pt>
                <c:pt idx="231" formatCode="#,##0">
                  <c:v>9307</c:v>
                </c:pt>
                <c:pt idx="232" formatCode="#,##0">
                  <c:v>9303</c:v>
                </c:pt>
                <c:pt idx="233" formatCode="#,##0">
                  <c:v>9289</c:v>
                </c:pt>
                <c:pt idx="234" formatCode="#,##0">
                  <c:v>9249</c:v>
                </c:pt>
                <c:pt idx="235" formatCode="#,##0">
                  <c:v>9251</c:v>
                </c:pt>
                <c:pt idx="236" formatCode="#,##0">
                  <c:v>9282</c:v>
                </c:pt>
                <c:pt idx="237" formatCode="#,##0">
                  <c:v>9264</c:v>
                </c:pt>
                <c:pt idx="238" formatCode="#,##0">
                  <c:v>9283</c:v>
                </c:pt>
                <c:pt idx="239" formatCode="#,##0">
                  <c:v>9283</c:v>
                </c:pt>
                <c:pt idx="240" formatCode="#,##0">
                  <c:v>9278</c:v>
                </c:pt>
                <c:pt idx="241" formatCode="#,##0">
                  <c:v>9254</c:v>
                </c:pt>
                <c:pt idx="242" formatCode="#,##0">
                  <c:v>9249</c:v>
                </c:pt>
                <c:pt idx="243" formatCode="#,##0">
                  <c:v>9270</c:v>
                </c:pt>
                <c:pt idx="244" formatCode="#,##0">
                  <c:v>92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D85-47C2-92CB-D22E4A4C65D5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8 35-39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F$5:$F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52</c:v>
                </c:pt>
                <c:pt idx="19">
                  <c:v>174</c:v>
                </c:pt>
                <c:pt idx="20">
                  <c:v>217</c:v>
                </c:pt>
                <c:pt idx="21">
                  <c:v>250</c:v>
                </c:pt>
                <c:pt idx="22">
                  <c:v>154</c:v>
                </c:pt>
                <c:pt idx="23">
                  <c:v>115</c:v>
                </c:pt>
                <c:pt idx="24">
                  <c:v>85</c:v>
                </c:pt>
                <c:pt idx="25">
                  <c:v>77</c:v>
                </c:pt>
                <c:pt idx="26">
                  <c:v>297</c:v>
                </c:pt>
                <c:pt idx="27">
                  <c:v>406</c:v>
                </c:pt>
                <c:pt idx="28">
                  <c:v>440</c:v>
                </c:pt>
                <c:pt idx="29">
                  <c:v>617</c:v>
                </c:pt>
                <c:pt idx="30">
                  <c:v>677</c:v>
                </c:pt>
                <c:pt idx="31">
                  <c:v>74</c:v>
                </c:pt>
                <c:pt idx="32">
                  <c:v>107</c:v>
                </c:pt>
                <c:pt idx="33">
                  <c:v>693</c:v>
                </c:pt>
                <c:pt idx="34">
                  <c:v>926</c:v>
                </c:pt>
                <c:pt idx="35">
                  <c:v>945</c:v>
                </c:pt>
                <c:pt idx="36">
                  <c:v>1040</c:v>
                </c:pt>
                <c:pt idx="37">
                  <c:v>814</c:v>
                </c:pt>
                <c:pt idx="38">
                  <c:v>109</c:v>
                </c:pt>
                <c:pt idx="39">
                  <c:v>83</c:v>
                </c:pt>
                <c:pt idx="40">
                  <c:v>692</c:v>
                </c:pt>
                <c:pt idx="41">
                  <c:v>582</c:v>
                </c:pt>
                <c:pt idx="42">
                  <c:v>576</c:v>
                </c:pt>
                <c:pt idx="43">
                  <c:v>638</c:v>
                </c:pt>
                <c:pt idx="44">
                  <c:v>517</c:v>
                </c:pt>
                <c:pt idx="45">
                  <c:v>52</c:v>
                </c:pt>
                <c:pt idx="46">
                  <c:v>17</c:v>
                </c:pt>
                <c:pt idx="47">
                  <c:v>359</c:v>
                </c:pt>
                <c:pt idx="48">
                  <c:v>296</c:v>
                </c:pt>
                <c:pt idx="49">
                  <c:v>269</c:v>
                </c:pt>
                <c:pt idx="50">
                  <c:v>312</c:v>
                </c:pt>
                <c:pt idx="51">
                  <c:v>226</c:v>
                </c:pt>
                <c:pt idx="52">
                  <c:v>15</c:v>
                </c:pt>
                <c:pt idx="53">
                  <c:v>10</c:v>
                </c:pt>
                <c:pt idx="54">
                  <c:v>155</c:v>
                </c:pt>
                <c:pt idx="55">
                  <c:v>179</c:v>
                </c:pt>
                <c:pt idx="56">
                  <c:v>156</c:v>
                </c:pt>
                <c:pt idx="57">
                  <c:v>192</c:v>
                </c:pt>
                <c:pt idx="58">
                  <c:v>166</c:v>
                </c:pt>
                <c:pt idx="59">
                  <c:v>5</c:v>
                </c:pt>
                <c:pt idx="60">
                  <c:v>4</c:v>
                </c:pt>
                <c:pt idx="61">
                  <c:v>112</c:v>
                </c:pt>
                <c:pt idx="62">
                  <c:v>127</c:v>
                </c:pt>
                <c:pt idx="63">
                  <c:v>157</c:v>
                </c:pt>
                <c:pt idx="64">
                  <c:v>163</c:v>
                </c:pt>
                <c:pt idx="65">
                  <c:v>148</c:v>
                </c:pt>
                <c:pt idx="66">
                  <c:v>5</c:v>
                </c:pt>
                <c:pt idx="67">
                  <c:v>5</c:v>
                </c:pt>
                <c:pt idx="68">
                  <c:v>128</c:v>
                </c:pt>
                <c:pt idx="69">
                  <c:v>175</c:v>
                </c:pt>
                <c:pt idx="70">
                  <c:v>252</c:v>
                </c:pt>
                <c:pt idx="71">
                  <c:v>272</c:v>
                </c:pt>
                <c:pt idx="72">
                  <c:v>286</c:v>
                </c:pt>
                <c:pt idx="73">
                  <c:v>22</c:v>
                </c:pt>
                <c:pt idx="74">
                  <c:v>32</c:v>
                </c:pt>
                <c:pt idx="75">
                  <c:v>252</c:v>
                </c:pt>
                <c:pt idx="76">
                  <c:v>288</c:v>
                </c:pt>
                <c:pt idx="77">
                  <c:v>345</c:v>
                </c:pt>
                <c:pt idx="78">
                  <c:v>418</c:v>
                </c:pt>
                <c:pt idx="79">
                  <c:v>426</c:v>
                </c:pt>
                <c:pt idx="80">
                  <c:v>37</c:v>
                </c:pt>
                <c:pt idx="81">
                  <c:v>21</c:v>
                </c:pt>
                <c:pt idx="82">
                  <c:v>429</c:v>
                </c:pt>
                <c:pt idx="83">
                  <c:v>402</c:v>
                </c:pt>
                <c:pt idx="84">
                  <c:v>439</c:v>
                </c:pt>
                <c:pt idx="85">
                  <c:v>483</c:v>
                </c:pt>
                <c:pt idx="86">
                  <c:v>567</c:v>
                </c:pt>
                <c:pt idx="87">
                  <c:v>106</c:v>
                </c:pt>
                <c:pt idx="88">
                  <c:v>94</c:v>
                </c:pt>
                <c:pt idx="89">
                  <c:v>651</c:v>
                </c:pt>
                <c:pt idx="90">
                  <c:v>686</c:v>
                </c:pt>
                <c:pt idx="91">
                  <c:v>853</c:v>
                </c:pt>
                <c:pt idx="92">
                  <c:v>981</c:v>
                </c:pt>
                <c:pt idx="93">
                  <c:v>315</c:v>
                </c:pt>
                <c:pt idx="94">
                  <c:v>279</c:v>
                </c:pt>
                <c:pt idx="95">
                  <c:v>247</c:v>
                </c:pt>
                <c:pt idx="96">
                  <c:v>203</c:v>
                </c:pt>
                <c:pt idx="97">
                  <c:v>930</c:v>
                </c:pt>
                <c:pt idx="98">
                  <c:v>673</c:v>
                </c:pt>
                <c:pt idx="99">
                  <c:v>846</c:v>
                </c:pt>
                <c:pt idx="100">
                  <c:v>912</c:v>
                </c:pt>
                <c:pt idx="101">
                  <c:v>407</c:v>
                </c:pt>
                <c:pt idx="102">
                  <c:v>215</c:v>
                </c:pt>
                <c:pt idx="103">
                  <c:v>532</c:v>
                </c:pt>
                <c:pt idx="104">
                  <c:v>722</c:v>
                </c:pt>
                <c:pt idx="105">
                  <c:v>635</c:v>
                </c:pt>
                <c:pt idx="106">
                  <c:v>620</c:v>
                </c:pt>
                <c:pt idx="107">
                  <c:v>980</c:v>
                </c:pt>
                <c:pt idx="108">
                  <c:v>310</c:v>
                </c:pt>
                <c:pt idx="109">
                  <c:v>183</c:v>
                </c:pt>
                <c:pt idx="110">
                  <c:v>366</c:v>
                </c:pt>
                <c:pt idx="111">
                  <c:v>399</c:v>
                </c:pt>
                <c:pt idx="112">
                  <c:v>413</c:v>
                </c:pt>
                <c:pt idx="113">
                  <c:v>562</c:v>
                </c:pt>
                <c:pt idx="114">
                  <c:v>633</c:v>
                </c:pt>
                <c:pt idx="115">
                  <c:v>174</c:v>
                </c:pt>
                <c:pt idx="116">
                  <c:v>119</c:v>
                </c:pt>
                <c:pt idx="117">
                  <c:v>245</c:v>
                </c:pt>
                <c:pt idx="118">
                  <c:v>376</c:v>
                </c:pt>
                <c:pt idx="119">
                  <c:v>467</c:v>
                </c:pt>
                <c:pt idx="120">
                  <c:v>714</c:v>
                </c:pt>
                <c:pt idx="121">
                  <c:v>431</c:v>
                </c:pt>
                <c:pt idx="122">
                  <c:v>102</c:v>
                </c:pt>
                <c:pt idx="123">
                  <c:v>62</c:v>
                </c:pt>
                <c:pt idx="124">
                  <c:v>168</c:v>
                </c:pt>
                <c:pt idx="125">
                  <c:v>183</c:v>
                </c:pt>
                <c:pt idx="126">
                  <c:v>225</c:v>
                </c:pt>
                <c:pt idx="127">
                  <c:v>254</c:v>
                </c:pt>
                <c:pt idx="128">
                  <c:v>303</c:v>
                </c:pt>
                <c:pt idx="129">
                  <c:v>43</c:v>
                </c:pt>
                <c:pt idx="130">
                  <c:v>53</c:v>
                </c:pt>
                <c:pt idx="131">
                  <c:v>205</c:v>
                </c:pt>
                <c:pt idx="132">
                  <c:v>190</c:v>
                </c:pt>
                <c:pt idx="133">
                  <c:v>245</c:v>
                </c:pt>
                <c:pt idx="134">
                  <c:v>237</c:v>
                </c:pt>
                <c:pt idx="135">
                  <c:v>268</c:v>
                </c:pt>
                <c:pt idx="136">
                  <c:v>92</c:v>
                </c:pt>
                <c:pt idx="137">
                  <c:v>24</c:v>
                </c:pt>
                <c:pt idx="138">
                  <c:v>212</c:v>
                </c:pt>
                <c:pt idx="139">
                  <c:v>361</c:v>
                </c:pt>
                <c:pt idx="140">
                  <c:v>365</c:v>
                </c:pt>
                <c:pt idx="141">
                  <c:v>664</c:v>
                </c:pt>
                <c:pt idx="142">
                  <c:v>972</c:v>
                </c:pt>
                <c:pt idx="143">
                  <c:v>343</c:v>
                </c:pt>
                <c:pt idx="144">
                  <c:v>256</c:v>
                </c:pt>
                <c:pt idx="145">
                  <c:v>934</c:v>
                </c:pt>
                <c:pt idx="146">
                  <c:v>991</c:v>
                </c:pt>
                <c:pt idx="147">
                  <c:v>1064</c:v>
                </c:pt>
                <c:pt idx="148">
                  <c:v>1497</c:v>
                </c:pt>
                <c:pt idx="149">
                  <c:v>1909</c:v>
                </c:pt>
                <c:pt idx="150">
                  <c:v>692</c:v>
                </c:pt>
                <c:pt idx="151">
                  <c:v>660</c:v>
                </c:pt>
                <c:pt idx="152">
                  <c:v>1662</c:v>
                </c:pt>
                <c:pt idx="153">
                  <c:v>1482</c:v>
                </c:pt>
                <c:pt idx="154">
                  <c:v>1517</c:v>
                </c:pt>
                <c:pt idx="155">
                  <c:v>1548</c:v>
                </c:pt>
                <c:pt idx="156">
                  <c:v>2161</c:v>
                </c:pt>
                <c:pt idx="157">
                  <c:v>383</c:v>
                </c:pt>
                <c:pt idx="158">
                  <c:v>362</c:v>
                </c:pt>
                <c:pt idx="159">
                  <c:v>1356</c:v>
                </c:pt>
                <c:pt idx="160">
                  <c:v>1075</c:v>
                </c:pt>
                <c:pt idx="161">
                  <c:v>998</c:v>
                </c:pt>
                <c:pt idx="162">
                  <c:v>2246</c:v>
                </c:pt>
                <c:pt idx="163">
                  <c:v>2638</c:v>
                </c:pt>
                <c:pt idx="164">
                  <c:v>1526</c:v>
                </c:pt>
                <c:pt idx="165">
                  <c:v>1462</c:v>
                </c:pt>
                <c:pt idx="166">
                  <c:v>2318</c:v>
                </c:pt>
                <c:pt idx="167">
                  <c:v>2422</c:v>
                </c:pt>
                <c:pt idx="168">
                  <c:v>2556</c:v>
                </c:pt>
                <c:pt idx="169">
                  <c:v>2817</c:v>
                </c:pt>
                <c:pt idx="170">
                  <c:v>3018</c:v>
                </c:pt>
                <c:pt idx="171">
                  <c:v>1899</c:v>
                </c:pt>
                <c:pt idx="172">
                  <c:v>1658</c:v>
                </c:pt>
                <c:pt idx="173">
                  <c:v>2719</c:v>
                </c:pt>
                <c:pt idx="174">
                  <c:v>2678</c:v>
                </c:pt>
                <c:pt idx="175">
                  <c:v>2405</c:v>
                </c:pt>
                <c:pt idx="176">
                  <c:v>2713</c:v>
                </c:pt>
                <c:pt idx="177">
                  <c:v>2539</c:v>
                </c:pt>
                <c:pt idx="178">
                  <c:v>1732</c:v>
                </c:pt>
                <c:pt idx="179">
                  <c:v>1553</c:v>
                </c:pt>
                <c:pt idx="180">
                  <c:v>2248</c:v>
                </c:pt>
                <c:pt idx="181">
                  <c:v>2283</c:v>
                </c:pt>
                <c:pt idx="182">
                  <c:v>2375</c:v>
                </c:pt>
                <c:pt idx="183" formatCode="#,##0">
                  <c:v>2366</c:v>
                </c:pt>
                <c:pt idx="184" formatCode="#,##0">
                  <c:v>2383</c:v>
                </c:pt>
                <c:pt idx="185" formatCode="#,##0">
                  <c:v>1580</c:v>
                </c:pt>
                <c:pt idx="186" formatCode="#,##0">
                  <c:v>1432</c:v>
                </c:pt>
                <c:pt idx="187" formatCode="#,##0">
                  <c:v>2681</c:v>
                </c:pt>
                <c:pt idx="188" formatCode="#,##0">
                  <c:v>6292</c:v>
                </c:pt>
                <c:pt idx="189" formatCode="#,##0">
                  <c:v>10563</c:v>
                </c:pt>
                <c:pt idx="190" formatCode="#,##0">
                  <c:v>10916</c:v>
                </c:pt>
                <c:pt idx="191" formatCode="#,##0">
                  <c:v>10613</c:v>
                </c:pt>
                <c:pt idx="192" formatCode="#,##0">
                  <c:v>5901</c:v>
                </c:pt>
                <c:pt idx="193" formatCode="#,##0">
                  <c:v>4141</c:v>
                </c:pt>
                <c:pt idx="194" formatCode="#,##0">
                  <c:v>11639</c:v>
                </c:pt>
                <c:pt idx="195" formatCode="#,##0">
                  <c:v>12765</c:v>
                </c:pt>
                <c:pt idx="196" formatCode="#,##0">
                  <c:v>15935</c:v>
                </c:pt>
                <c:pt idx="197" formatCode="#,##0">
                  <c:v>15149</c:v>
                </c:pt>
                <c:pt idx="198" formatCode="#,##0">
                  <c:v>13491</c:v>
                </c:pt>
                <c:pt idx="199" formatCode="#,##0">
                  <c:v>9090</c:v>
                </c:pt>
                <c:pt idx="200" formatCode="#,##0">
                  <c:v>5876</c:v>
                </c:pt>
                <c:pt idx="201" formatCode="#,##0">
                  <c:v>13984</c:v>
                </c:pt>
                <c:pt idx="202" formatCode="#,##0">
                  <c:v>10304</c:v>
                </c:pt>
                <c:pt idx="203" formatCode="#,##0">
                  <c:v>6552</c:v>
                </c:pt>
                <c:pt idx="204" formatCode="#,##0">
                  <c:v>7910</c:v>
                </c:pt>
                <c:pt idx="205" formatCode="#,##0">
                  <c:v>7888</c:v>
                </c:pt>
                <c:pt idx="206" formatCode="#,##0">
                  <c:v>7855</c:v>
                </c:pt>
                <c:pt idx="207" formatCode="#,##0">
                  <c:v>7856</c:v>
                </c:pt>
                <c:pt idx="208" formatCode="#,##0">
                  <c:v>7886</c:v>
                </c:pt>
                <c:pt idx="209" formatCode="#,##0">
                  <c:v>7878</c:v>
                </c:pt>
                <c:pt idx="210" formatCode="#,##0">
                  <c:v>7904</c:v>
                </c:pt>
                <c:pt idx="211" formatCode="#,##0">
                  <c:v>7895</c:v>
                </c:pt>
                <c:pt idx="212" formatCode="#,##0">
                  <c:v>7888</c:v>
                </c:pt>
                <c:pt idx="213" formatCode="#,##0">
                  <c:v>7856</c:v>
                </c:pt>
                <c:pt idx="214" formatCode="#,##0">
                  <c:v>7854</c:v>
                </c:pt>
                <c:pt idx="215" formatCode="#,##0">
                  <c:v>7879</c:v>
                </c:pt>
                <c:pt idx="216" formatCode="#,##0">
                  <c:v>7884</c:v>
                </c:pt>
                <c:pt idx="217" formatCode="#,##0">
                  <c:v>7906</c:v>
                </c:pt>
                <c:pt idx="218" formatCode="#,##0">
                  <c:v>7916</c:v>
                </c:pt>
                <c:pt idx="219" formatCode="#,##0">
                  <c:v>7934</c:v>
                </c:pt>
                <c:pt idx="220" formatCode="#,##0">
                  <c:v>7857</c:v>
                </c:pt>
                <c:pt idx="221" formatCode="#,##0">
                  <c:v>7853</c:v>
                </c:pt>
                <c:pt idx="222" formatCode="#,##0">
                  <c:v>7904</c:v>
                </c:pt>
                <c:pt idx="223" formatCode="#,##0">
                  <c:v>7937</c:v>
                </c:pt>
                <c:pt idx="224" formatCode="#,##0">
                  <c:v>7943</c:v>
                </c:pt>
                <c:pt idx="225" formatCode="#,##0">
                  <c:v>11288</c:v>
                </c:pt>
                <c:pt idx="226" formatCode="#,##0">
                  <c:v>11288</c:v>
                </c:pt>
                <c:pt idx="227" formatCode="#,##0">
                  <c:v>11223</c:v>
                </c:pt>
                <c:pt idx="228" formatCode="#,##0">
                  <c:v>11219</c:v>
                </c:pt>
                <c:pt idx="229" formatCode="#,##0">
                  <c:v>11276</c:v>
                </c:pt>
                <c:pt idx="230" formatCode="#,##0">
                  <c:v>11285</c:v>
                </c:pt>
                <c:pt idx="231" formatCode="#,##0">
                  <c:v>11291</c:v>
                </c:pt>
                <c:pt idx="232" formatCode="#,##0">
                  <c:v>11296</c:v>
                </c:pt>
                <c:pt idx="233" formatCode="#,##0">
                  <c:v>11267</c:v>
                </c:pt>
                <c:pt idx="234" formatCode="#,##0">
                  <c:v>11219</c:v>
                </c:pt>
                <c:pt idx="235" formatCode="#,##0">
                  <c:v>11217</c:v>
                </c:pt>
                <c:pt idx="236" formatCode="#,##0">
                  <c:v>11278</c:v>
                </c:pt>
                <c:pt idx="237" formatCode="#,##0">
                  <c:v>11248</c:v>
                </c:pt>
                <c:pt idx="238" formatCode="#,##0">
                  <c:v>11262</c:v>
                </c:pt>
                <c:pt idx="239" formatCode="#,##0">
                  <c:v>11276</c:v>
                </c:pt>
                <c:pt idx="240" formatCode="#,##0">
                  <c:v>41</c:v>
                </c:pt>
                <c:pt idx="241" formatCode="#,##0">
                  <c:v>5</c:v>
                </c:pt>
                <c:pt idx="242" formatCode="#,##0">
                  <c:v>0</c:v>
                </c:pt>
                <c:pt idx="243" formatCode="#,##0">
                  <c:v>16</c:v>
                </c:pt>
                <c:pt idx="244" formatCode="#,##0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D85-47C2-92CB-D22E4A4C65D5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9 40-44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G$5:$G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89</c:v>
                </c:pt>
                <c:pt idx="19">
                  <c:v>240</c:v>
                </c:pt>
                <c:pt idx="20">
                  <c:v>329</c:v>
                </c:pt>
                <c:pt idx="21">
                  <c:v>354</c:v>
                </c:pt>
                <c:pt idx="22">
                  <c:v>233</c:v>
                </c:pt>
                <c:pt idx="23">
                  <c:v>150</c:v>
                </c:pt>
                <c:pt idx="24">
                  <c:v>138</c:v>
                </c:pt>
                <c:pt idx="25">
                  <c:v>131</c:v>
                </c:pt>
                <c:pt idx="26">
                  <c:v>456</c:v>
                </c:pt>
                <c:pt idx="27">
                  <c:v>588</c:v>
                </c:pt>
                <c:pt idx="28">
                  <c:v>657</c:v>
                </c:pt>
                <c:pt idx="29">
                  <c:v>794</c:v>
                </c:pt>
                <c:pt idx="30">
                  <c:v>1026</c:v>
                </c:pt>
                <c:pt idx="31">
                  <c:v>119</c:v>
                </c:pt>
                <c:pt idx="32">
                  <c:v>128</c:v>
                </c:pt>
                <c:pt idx="33">
                  <c:v>1078</c:v>
                </c:pt>
                <c:pt idx="34">
                  <c:v>1243</c:v>
                </c:pt>
                <c:pt idx="35">
                  <c:v>1286</c:v>
                </c:pt>
                <c:pt idx="36">
                  <c:v>1427</c:v>
                </c:pt>
                <c:pt idx="37">
                  <c:v>1175</c:v>
                </c:pt>
                <c:pt idx="38">
                  <c:v>155</c:v>
                </c:pt>
                <c:pt idx="39">
                  <c:v>117</c:v>
                </c:pt>
                <c:pt idx="40">
                  <c:v>1035</c:v>
                </c:pt>
                <c:pt idx="41">
                  <c:v>914</c:v>
                </c:pt>
                <c:pt idx="42">
                  <c:v>815</c:v>
                </c:pt>
                <c:pt idx="43">
                  <c:v>946</c:v>
                </c:pt>
                <c:pt idx="44">
                  <c:v>858</c:v>
                </c:pt>
                <c:pt idx="45">
                  <c:v>101</c:v>
                </c:pt>
                <c:pt idx="46">
                  <c:v>21</c:v>
                </c:pt>
                <c:pt idx="47">
                  <c:v>517</c:v>
                </c:pt>
                <c:pt idx="48">
                  <c:v>440</c:v>
                </c:pt>
                <c:pt idx="49">
                  <c:v>379</c:v>
                </c:pt>
                <c:pt idx="50">
                  <c:v>436</c:v>
                </c:pt>
                <c:pt idx="51">
                  <c:v>319</c:v>
                </c:pt>
                <c:pt idx="52">
                  <c:v>7</c:v>
                </c:pt>
                <c:pt idx="53">
                  <c:v>7</c:v>
                </c:pt>
                <c:pt idx="54">
                  <c:v>220</c:v>
                </c:pt>
                <c:pt idx="55">
                  <c:v>288</c:v>
                </c:pt>
                <c:pt idx="56">
                  <c:v>268</c:v>
                </c:pt>
                <c:pt idx="57">
                  <c:v>222</c:v>
                </c:pt>
                <c:pt idx="58">
                  <c:v>278</c:v>
                </c:pt>
                <c:pt idx="59">
                  <c:v>9</c:v>
                </c:pt>
                <c:pt idx="60">
                  <c:v>4</c:v>
                </c:pt>
                <c:pt idx="61">
                  <c:v>137</c:v>
                </c:pt>
                <c:pt idx="62">
                  <c:v>159</c:v>
                </c:pt>
                <c:pt idx="63">
                  <c:v>243</c:v>
                </c:pt>
                <c:pt idx="64">
                  <c:v>212</c:v>
                </c:pt>
                <c:pt idx="65">
                  <c:v>236</c:v>
                </c:pt>
                <c:pt idx="66">
                  <c:v>7</c:v>
                </c:pt>
                <c:pt idx="67">
                  <c:v>12</c:v>
                </c:pt>
                <c:pt idx="68">
                  <c:v>190</c:v>
                </c:pt>
                <c:pt idx="69">
                  <c:v>310</c:v>
                </c:pt>
                <c:pt idx="70">
                  <c:v>344</c:v>
                </c:pt>
                <c:pt idx="71">
                  <c:v>396</c:v>
                </c:pt>
                <c:pt idx="72">
                  <c:v>464</c:v>
                </c:pt>
                <c:pt idx="73">
                  <c:v>28</c:v>
                </c:pt>
                <c:pt idx="74">
                  <c:v>31</c:v>
                </c:pt>
                <c:pt idx="75">
                  <c:v>383</c:v>
                </c:pt>
                <c:pt idx="76">
                  <c:v>422</c:v>
                </c:pt>
                <c:pt idx="77">
                  <c:v>440</c:v>
                </c:pt>
                <c:pt idx="78">
                  <c:v>495</c:v>
                </c:pt>
                <c:pt idx="79">
                  <c:v>589</c:v>
                </c:pt>
                <c:pt idx="80">
                  <c:v>74</c:v>
                </c:pt>
                <c:pt idx="81">
                  <c:v>38</c:v>
                </c:pt>
                <c:pt idx="82">
                  <c:v>608</c:v>
                </c:pt>
                <c:pt idx="83">
                  <c:v>636</c:v>
                </c:pt>
                <c:pt idx="84">
                  <c:v>740</c:v>
                </c:pt>
                <c:pt idx="85">
                  <c:v>763</c:v>
                </c:pt>
                <c:pt idx="86">
                  <c:v>916</c:v>
                </c:pt>
                <c:pt idx="87">
                  <c:v>177</c:v>
                </c:pt>
                <c:pt idx="88">
                  <c:v>144</c:v>
                </c:pt>
                <c:pt idx="89">
                  <c:v>955</c:v>
                </c:pt>
                <c:pt idx="90">
                  <c:v>1047</c:v>
                </c:pt>
                <c:pt idx="91">
                  <c:v>1226</c:v>
                </c:pt>
                <c:pt idx="92">
                  <c:v>1402</c:v>
                </c:pt>
                <c:pt idx="93">
                  <c:v>600</c:v>
                </c:pt>
                <c:pt idx="94">
                  <c:v>466</c:v>
                </c:pt>
                <c:pt idx="95">
                  <c:v>440</c:v>
                </c:pt>
                <c:pt idx="96">
                  <c:v>341</c:v>
                </c:pt>
                <c:pt idx="97">
                  <c:v>1427</c:v>
                </c:pt>
                <c:pt idx="98">
                  <c:v>972</c:v>
                </c:pt>
                <c:pt idx="99">
                  <c:v>1260</c:v>
                </c:pt>
                <c:pt idx="100">
                  <c:v>1439</c:v>
                </c:pt>
                <c:pt idx="101">
                  <c:v>533</c:v>
                </c:pt>
                <c:pt idx="102">
                  <c:v>310</c:v>
                </c:pt>
                <c:pt idx="103">
                  <c:v>1025</c:v>
                </c:pt>
                <c:pt idx="104">
                  <c:v>1305</c:v>
                </c:pt>
                <c:pt idx="105">
                  <c:v>1152</c:v>
                </c:pt>
                <c:pt idx="106">
                  <c:v>1126</c:v>
                </c:pt>
                <c:pt idx="107">
                  <c:v>1592</c:v>
                </c:pt>
                <c:pt idx="108">
                  <c:v>370</c:v>
                </c:pt>
                <c:pt idx="109">
                  <c:v>228</c:v>
                </c:pt>
                <c:pt idx="110">
                  <c:v>670</c:v>
                </c:pt>
                <c:pt idx="111">
                  <c:v>619</c:v>
                </c:pt>
                <c:pt idx="112">
                  <c:v>698</c:v>
                </c:pt>
                <c:pt idx="113">
                  <c:v>953</c:v>
                </c:pt>
                <c:pt idx="114">
                  <c:v>714</c:v>
                </c:pt>
                <c:pt idx="115">
                  <c:v>223</c:v>
                </c:pt>
                <c:pt idx="116">
                  <c:v>246</c:v>
                </c:pt>
                <c:pt idx="117">
                  <c:v>358</c:v>
                </c:pt>
                <c:pt idx="118">
                  <c:v>564</c:v>
                </c:pt>
                <c:pt idx="119">
                  <c:v>696</c:v>
                </c:pt>
                <c:pt idx="120">
                  <c:v>908</c:v>
                </c:pt>
                <c:pt idx="121">
                  <c:v>619</c:v>
                </c:pt>
                <c:pt idx="122">
                  <c:v>160</c:v>
                </c:pt>
                <c:pt idx="123">
                  <c:v>119</c:v>
                </c:pt>
                <c:pt idx="124">
                  <c:v>191</c:v>
                </c:pt>
                <c:pt idx="125">
                  <c:v>345</c:v>
                </c:pt>
                <c:pt idx="126">
                  <c:v>284</c:v>
                </c:pt>
                <c:pt idx="127">
                  <c:v>400</c:v>
                </c:pt>
                <c:pt idx="128">
                  <c:v>519</c:v>
                </c:pt>
                <c:pt idx="129">
                  <c:v>73</c:v>
                </c:pt>
                <c:pt idx="130">
                  <c:v>73</c:v>
                </c:pt>
                <c:pt idx="131">
                  <c:v>259</c:v>
                </c:pt>
                <c:pt idx="132">
                  <c:v>283</c:v>
                </c:pt>
                <c:pt idx="133">
                  <c:v>372</c:v>
                </c:pt>
                <c:pt idx="134">
                  <c:v>390</c:v>
                </c:pt>
                <c:pt idx="135">
                  <c:v>416</c:v>
                </c:pt>
                <c:pt idx="136">
                  <c:v>137</c:v>
                </c:pt>
                <c:pt idx="137">
                  <c:v>43</c:v>
                </c:pt>
                <c:pt idx="138">
                  <c:v>332</c:v>
                </c:pt>
                <c:pt idx="139">
                  <c:v>540</c:v>
                </c:pt>
                <c:pt idx="140">
                  <c:v>644</c:v>
                </c:pt>
                <c:pt idx="141">
                  <c:v>1075</c:v>
                </c:pt>
                <c:pt idx="142">
                  <c:v>1489</c:v>
                </c:pt>
                <c:pt idx="143">
                  <c:v>657</c:v>
                </c:pt>
                <c:pt idx="144">
                  <c:v>515</c:v>
                </c:pt>
                <c:pt idx="145">
                  <c:v>1555</c:v>
                </c:pt>
                <c:pt idx="146">
                  <c:v>1705</c:v>
                </c:pt>
                <c:pt idx="147">
                  <c:v>1705</c:v>
                </c:pt>
                <c:pt idx="148">
                  <c:v>2330</c:v>
                </c:pt>
                <c:pt idx="149">
                  <c:v>3104</c:v>
                </c:pt>
                <c:pt idx="150">
                  <c:v>1042</c:v>
                </c:pt>
                <c:pt idx="151">
                  <c:v>920</c:v>
                </c:pt>
                <c:pt idx="152">
                  <c:v>2491</c:v>
                </c:pt>
                <c:pt idx="153">
                  <c:v>2315</c:v>
                </c:pt>
                <c:pt idx="154">
                  <c:v>2044</c:v>
                </c:pt>
                <c:pt idx="155">
                  <c:v>2370</c:v>
                </c:pt>
                <c:pt idx="156">
                  <c:v>3238</c:v>
                </c:pt>
                <c:pt idx="157">
                  <c:v>661</c:v>
                </c:pt>
                <c:pt idx="158">
                  <c:v>576</c:v>
                </c:pt>
                <c:pt idx="159">
                  <c:v>1899</c:v>
                </c:pt>
                <c:pt idx="160">
                  <c:v>1531</c:v>
                </c:pt>
                <c:pt idx="161">
                  <c:v>1424</c:v>
                </c:pt>
                <c:pt idx="162">
                  <c:v>2722</c:v>
                </c:pt>
                <c:pt idx="163">
                  <c:v>3384</c:v>
                </c:pt>
                <c:pt idx="164">
                  <c:v>1656</c:v>
                </c:pt>
                <c:pt idx="165">
                  <c:v>1519</c:v>
                </c:pt>
                <c:pt idx="166">
                  <c:v>2882</c:v>
                </c:pt>
                <c:pt idx="167">
                  <c:v>2993</c:v>
                </c:pt>
                <c:pt idx="168">
                  <c:v>2970</c:v>
                </c:pt>
                <c:pt idx="169">
                  <c:v>3597</c:v>
                </c:pt>
                <c:pt idx="170">
                  <c:v>3750</c:v>
                </c:pt>
                <c:pt idx="171">
                  <c:v>2065</c:v>
                </c:pt>
                <c:pt idx="172">
                  <c:v>1747</c:v>
                </c:pt>
                <c:pt idx="173">
                  <c:v>3076</c:v>
                </c:pt>
                <c:pt idx="174">
                  <c:v>3183</c:v>
                </c:pt>
                <c:pt idx="175">
                  <c:v>3056</c:v>
                </c:pt>
                <c:pt idx="176">
                  <c:v>3299</c:v>
                </c:pt>
                <c:pt idx="177">
                  <c:v>3105</c:v>
                </c:pt>
                <c:pt idx="178">
                  <c:v>1719</c:v>
                </c:pt>
                <c:pt idx="179">
                  <c:v>1575</c:v>
                </c:pt>
                <c:pt idx="180">
                  <c:v>3564</c:v>
                </c:pt>
                <c:pt idx="181">
                  <c:v>7733</c:v>
                </c:pt>
                <c:pt idx="182">
                  <c:v>14786</c:v>
                </c:pt>
                <c:pt idx="183" formatCode="#,##0">
                  <c:v>19131</c:v>
                </c:pt>
                <c:pt idx="184" formatCode="#,##0">
                  <c:v>16439</c:v>
                </c:pt>
                <c:pt idx="185" formatCode="#,##0">
                  <c:v>10423</c:v>
                </c:pt>
                <c:pt idx="186" formatCode="#,##0">
                  <c:v>6829</c:v>
                </c:pt>
                <c:pt idx="187" formatCode="#,##0">
                  <c:v>16150</c:v>
                </c:pt>
                <c:pt idx="188" formatCode="#,##0">
                  <c:v>17192</c:v>
                </c:pt>
                <c:pt idx="189" formatCode="#,##0">
                  <c:v>20868</c:v>
                </c:pt>
                <c:pt idx="190" formatCode="#,##0">
                  <c:v>18166</c:v>
                </c:pt>
                <c:pt idx="191" formatCode="#,##0">
                  <c:v>18525</c:v>
                </c:pt>
                <c:pt idx="192" formatCode="#,##0">
                  <c:v>10928</c:v>
                </c:pt>
                <c:pt idx="193" formatCode="#,##0">
                  <c:v>9195</c:v>
                </c:pt>
                <c:pt idx="194" formatCode="#,##0">
                  <c:v>17828</c:v>
                </c:pt>
                <c:pt idx="195" formatCode="#,##0">
                  <c:v>17135</c:v>
                </c:pt>
                <c:pt idx="196" formatCode="#,##0">
                  <c:v>15120</c:v>
                </c:pt>
                <c:pt idx="197" formatCode="#,##0">
                  <c:v>11536</c:v>
                </c:pt>
                <c:pt idx="198" formatCode="#,##0">
                  <c:v>13857</c:v>
                </c:pt>
                <c:pt idx="199" formatCode="#,##0">
                  <c:v>5582</c:v>
                </c:pt>
                <c:pt idx="200" formatCode="#,##0">
                  <c:v>3738</c:v>
                </c:pt>
                <c:pt idx="201" formatCode="#,##0">
                  <c:v>8837</c:v>
                </c:pt>
                <c:pt idx="202" formatCode="#,##0">
                  <c:v>8034</c:v>
                </c:pt>
                <c:pt idx="203" formatCode="#,##0">
                  <c:v>5352</c:v>
                </c:pt>
                <c:pt idx="204" formatCode="#,##0">
                  <c:v>6837</c:v>
                </c:pt>
                <c:pt idx="205" formatCode="#,##0">
                  <c:v>6815</c:v>
                </c:pt>
                <c:pt idx="206" formatCode="#,##0">
                  <c:v>6737</c:v>
                </c:pt>
                <c:pt idx="207" formatCode="#,##0">
                  <c:v>6733</c:v>
                </c:pt>
                <c:pt idx="208" formatCode="#,##0">
                  <c:v>6794</c:v>
                </c:pt>
                <c:pt idx="209" formatCode="#,##0">
                  <c:v>6806</c:v>
                </c:pt>
                <c:pt idx="210" formatCode="#,##0">
                  <c:v>6808</c:v>
                </c:pt>
                <c:pt idx="211" formatCode="#,##0">
                  <c:v>6820</c:v>
                </c:pt>
                <c:pt idx="212" formatCode="#,##0">
                  <c:v>6788</c:v>
                </c:pt>
                <c:pt idx="213" formatCode="#,##0">
                  <c:v>6734</c:v>
                </c:pt>
                <c:pt idx="214" formatCode="#,##0">
                  <c:v>6730</c:v>
                </c:pt>
                <c:pt idx="215" formatCode="#,##0">
                  <c:v>6790</c:v>
                </c:pt>
                <c:pt idx="216" formatCode="#,##0">
                  <c:v>6781</c:v>
                </c:pt>
                <c:pt idx="217" formatCode="#,##0">
                  <c:v>6831</c:v>
                </c:pt>
                <c:pt idx="218" formatCode="#,##0">
                  <c:v>6886</c:v>
                </c:pt>
                <c:pt idx="219" formatCode="#,##0">
                  <c:v>6864</c:v>
                </c:pt>
                <c:pt idx="220" formatCode="#,##0">
                  <c:v>6735</c:v>
                </c:pt>
                <c:pt idx="221" formatCode="#,##0">
                  <c:v>6732</c:v>
                </c:pt>
                <c:pt idx="222" formatCode="#,##0">
                  <c:v>6844</c:v>
                </c:pt>
                <c:pt idx="223" formatCode="#,##0">
                  <c:v>6882</c:v>
                </c:pt>
                <c:pt idx="224" formatCode="#,##0">
                  <c:v>6891</c:v>
                </c:pt>
                <c:pt idx="225" formatCode="#,##0">
                  <c:v>9729</c:v>
                </c:pt>
                <c:pt idx="226" formatCode="#,##0">
                  <c:v>9761</c:v>
                </c:pt>
                <c:pt idx="227" formatCode="#,##0">
                  <c:v>9621</c:v>
                </c:pt>
                <c:pt idx="228" formatCode="#,##0">
                  <c:v>9614</c:v>
                </c:pt>
                <c:pt idx="229" formatCode="#,##0">
                  <c:v>9768</c:v>
                </c:pt>
                <c:pt idx="230" formatCode="#,##0">
                  <c:v>9822</c:v>
                </c:pt>
                <c:pt idx="231" formatCode="#,##0">
                  <c:v>9793</c:v>
                </c:pt>
                <c:pt idx="232" formatCode="#,##0">
                  <c:v>9847</c:v>
                </c:pt>
                <c:pt idx="233" formatCode="#,##0">
                  <c:v>9726</c:v>
                </c:pt>
                <c:pt idx="234" formatCode="#,##0">
                  <c:v>9613</c:v>
                </c:pt>
                <c:pt idx="235" formatCode="#,##0">
                  <c:v>9616</c:v>
                </c:pt>
                <c:pt idx="236" formatCode="#,##0">
                  <c:v>9699</c:v>
                </c:pt>
                <c:pt idx="237" formatCode="#,##0">
                  <c:v>9698</c:v>
                </c:pt>
                <c:pt idx="238" formatCode="#,##0">
                  <c:v>9694</c:v>
                </c:pt>
                <c:pt idx="239" formatCode="#,##0">
                  <c:v>9674</c:v>
                </c:pt>
                <c:pt idx="240" formatCode="#,##0">
                  <c:v>9654</c:v>
                </c:pt>
                <c:pt idx="241" formatCode="#,##0">
                  <c:v>5</c:v>
                </c:pt>
                <c:pt idx="242" formatCode="#,##0">
                  <c:v>0</c:v>
                </c:pt>
                <c:pt idx="243" formatCode="#,##0">
                  <c:v>34</c:v>
                </c:pt>
                <c:pt idx="244" formatCode="#,##0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D85-47C2-92CB-D22E4A4C65D5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10 45-49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H$5:$H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99</c:v>
                </c:pt>
                <c:pt idx="19">
                  <c:v>242</c:v>
                </c:pt>
                <c:pt idx="20">
                  <c:v>367</c:v>
                </c:pt>
                <c:pt idx="21">
                  <c:v>335</c:v>
                </c:pt>
                <c:pt idx="22">
                  <c:v>246</c:v>
                </c:pt>
                <c:pt idx="23">
                  <c:v>130</c:v>
                </c:pt>
                <c:pt idx="24">
                  <c:v>127</c:v>
                </c:pt>
                <c:pt idx="25">
                  <c:v>132</c:v>
                </c:pt>
                <c:pt idx="26">
                  <c:v>496</c:v>
                </c:pt>
                <c:pt idx="27">
                  <c:v>629</c:v>
                </c:pt>
                <c:pt idx="28">
                  <c:v>737</c:v>
                </c:pt>
                <c:pt idx="29">
                  <c:v>927</c:v>
                </c:pt>
                <c:pt idx="30">
                  <c:v>1218</c:v>
                </c:pt>
                <c:pt idx="31">
                  <c:v>146</c:v>
                </c:pt>
                <c:pt idx="32">
                  <c:v>133</c:v>
                </c:pt>
                <c:pt idx="33">
                  <c:v>1151</c:v>
                </c:pt>
                <c:pt idx="34">
                  <c:v>1504</c:v>
                </c:pt>
                <c:pt idx="35">
                  <c:v>1525</c:v>
                </c:pt>
                <c:pt idx="36">
                  <c:v>1675</c:v>
                </c:pt>
                <c:pt idx="37">
                  <c:v>1335</c:v>
                </c:pt>
                <c:pt idx="38">
                  <c:v>178</c:v>
                </c:pt>
                <c:pt idx="39">
                  <c:v>154</c:v>
                </c:pt>
                <c:pt idx="40">
                  <c:v>1124</c:v>
                </c:pt>
                <c:pt idx="41">
                  <c:v>1074</c:v>
                </c:pt>
                <c:pt idx="42">
                  <c:v>1031</c:v>
                </c:pt>
                <c:pt idx="43">
                  <c:v>1143</c:v>
                </c:pt>
                <c:pt idx="44">
                  <c:v>991</c:v>
                </c:pt>
                <c:pt idx="45">
                  <c:v>104</c:v>
                </c:pt>
                <c:pt idx="46">
                  <c:v>24</c:v>
                </c:pt>
                <c:pt idx="47">
                  <c:v>561</c:v>
                </c:pt>
                <c:pt idx="48">
                  <c:v>483</c:v>
                </c:pt>
                <c:pt idx="49">
                  <c:v>522</c:v>
                </c:pt>
                <c:pt idx="50">
                  <c:v>505</c:v>
                </c:pt>
                <c:pt idx="51">
                  <c:v>421</c:v>
                </c:pt>
                <c:pt idx="52">
                  <c:v>27</c:v>
                </c:pt>
                <c:pt idx="53">
                  <c:v>28</c:v>
                </c:pt>
                <c:pt idx="54">
                  <c:v>280</c:v>
                </c:pt>
                <c:pt idx="55">
                  <c:v>341</c:v>
                </c:pt>
                <c:pt idx="56">
                  <c:v>329</c:v>
                </c:pt>
                <c:pt idx="57">
                  <c:v>336</c:v>
                </c:pt>
                <c:pt idx="58">
                  <c:v>308</c:v>
                </c:pt>
                <c:pt idx="59">
                  <c:v>5</c:v>
                </c:pt>
                <c:pt idx="60">
                  <c:v>10</c:v>
                </c:pt>
                <c:pt idx="61">
                  <c:v>151</c:v>
                </c:pt>
                <c:pt idx="62">
                  <c:v>193</c:v>
                </c:pt>
                <c:pt idx="63">
                  <c:v>280</c:v>
                </c:pt>
                <c:pt idx="64">
                  <c:v>242</c:v>
                </c:pt>
                <c:pt idx="65">
                  <c:v>277</c:v>
                </c:pt>
                <c:pt idx="66">
                  <c:v>17</c:v>
                </c:pt>
                <c:pt idx="67">
                  <c:v>5</c:v>
                </c:pt>
                <c:pt idx="68">
                  <c:v>228</c:v>
                </c:pt>
                <c:pt idx="69">
                  <c:v>292</c:v>
                </c:pt>
                <c:pt idx="70">
                  <c:v>388</c:v>
                </c:pt>
                <c:pt idx="71">
                  <c:v>532</c:v>
                </c:pt>
                <c:pt idx="72">
                  <c:v>512</c:v>
                </c:pt>
                <c:pt idx="73">
                  <c:v>26</c:v>
                </c:pt>
                <c:pt idx="74">
                  <c:v>39</c:v>
                </c:pt>
                <c:pt idx="75">
                  <c:v>399</c:v>
                </c:pt>
                <c:pt idx="76">
                  <c:v>435</c:v>
                </c:pt>
                <c:pt idx="77">
                  <c:v>480</c:v>
                </c:pt>
                <c:pt idx="78">
                  <c:v>588</c:v>
                </c:pt>
                <c:pt idx="79">
                  <c:v>718</c:v>
                </c:pt>
                <c:pt idx="80">
                  <c:v>75</c:v>
                </c:pt>
                <c:pt idx="81">
                  <c:v>57</c:v>
                </c:pt>
                <c:pt idx="82">
                  <c:v>694</c:v>
                </c:pt>
                <c:pt idx="83">
                  <c:v>688</c:v>
                </c:pt>
                <c:pt idx="84">
                  <c:v>894</c:v>
                </c:pt>
                <c:pt idx="85">
                  <c:v>968</c:v>
                </c:pt>
                <c:pt idx="86">
                  <c:v>989</c:v>
                </c:pt>
                <c:pt idx="87">
                  <c:v>171</c:v>
                </c:pt>
                <c:pt idx="88">
                  <c:v>206</c:v>
                </c:pt>
                <c:pt idx="89">
                  <c:v>1150</c:v>
                </c:pt>
                <c:pt idx="90">
                  <c:v>1287</c:v>
                </c:pt>
                <c:pt idx="91">
                  <c:v>1378</c:v>
                </c:pt>
                <c:pt idx="92">
                  <c:v>1585</c:v>
                </c:pt>
                <c:pt idx="93">
                  <c:v>585</c:v>
                </c:pt>
                <c:pt idx="94">
                  <c:v>566</c:v>
                </c:pt>
                <c:pt idx="95">
                  <c:v>517</c:v>
                </c:pt>
                <c:pt idx="96">
                  <c:v>344</c:v>
                </c:pt>
                <c:pt idx="97">
                  <c:v>1666</c:v>
                </c:pt>
                <c:pt idx="98">
                  <c:v>1111</c:v>
                </c:pt>
                <c:pt idx="99">
                  <c:v>1347</c:v>
                </c:pt>
                <c:pt idx="100">
                  <c:v>1640</c:v>
                </c:pt>
                <c:pt idx="101">
                  <c:v>603</c:v>
                </c:pt>
                <c:pt idx="102">
                  <c:v>384</c:v>
                </c:pt>
                <c:pt idx="103">
                  <c:v>1260</c:v>
                </c:pt>
                <c:pt idx="104">
                  <c:v>1558</c:v>
                </c:pt>
                <c:pt idx="105">
                  <c:v>1409</c:v>
                </c:pt>
                <c:pt idx="106">
                  <c:v>1311</c:v>
                </c:pt>
                <c:pt idx="107">
                  <c:v>1841</c:v>
                </c:pt>
                <c:pt idx="108">
                  <c:v>475</c:v>
                </c:pt>
                <c:pt idx="109">
                  <c:v>192</c:v>
                </c:pt>
                <c:pt idx="110">
                  <c:v>861</c:v>
                </c:pt>
                <c:pt idx="111">
                  <c:v>857</c:v>
                </c:pt>
                <c:pt idx="112">
                  <c:v>792</c:v>
                </c:pt>
                <c:pt idx="113">
                  <c:v>1030</c:v>
                </c:pt>
                <c:pt idx="114">
                  <c:v>738</c:v>
                </c:pt>
                <c:pt idx="115">
                  <c:v>213</c:v>
                </c:pt>
                <c:pt idx="116">
                  <c:v>358</c:v>
                </c:pt>
                <c:pt idx="117">
                  <c:v>411</c:v>
                </c:pt>
                <c:pt idx="118">
                  <c:v>932</c:v>
                </c:pt>
                <c:pt idx="119">
                  <c:v>906</c:v>
                </c:pt>
                <c:pt idx="120">
                  <c:v>928</c:v>
                </c:pt>
                <c:pt idx="121">
                  <c:v>741</c:v>
                </c:pt>
                <c:pt idx="122">
                  <c:v>193</c:v>
                </c:pt>
                <c:pt idx="123">
                  <c:v>143</c:v>
                </c:pt>
                <c:pt idx="124">
                  <c:v>282</c:v>
                </c:pt>
                <c:pt idx="125">
                  <c:v>419</c:v>
                </c:pt>
                <c:pt idx="126">
                  <c:v>482</c:v>
                </c:pt>
                <c:pt idx="127">
                  <c:v>647</c:v>
                </c:pt>
                <c:pt idx="128">
                  <c:v>728</c:v>
                </c:pt>
                <c:pt idx="129">
                  <c:v>108</c:v>
                </c:pt>
                <c:pt idx="130">
                  <c:v>92</c:v>
                </c:pt>
                <c:pt idx="131">
                  <c:v>398</c:v>
                </c:pt>
                <c:pt idx="132">
                  <c:v>429</c:v>
                </c:pt>
                <c:pt idx="133">
                  <c:v>486</c:v>
                </c:pt>
                <c:pt idx="134">
                  <c:v>571</c:v>
                </c:pt>
                <c:pt idx="135">
                  <c:v>631</c:v>
                </c:pt>
                <c:pt idx="136">
                  <c:v>144</c:v>
                </c:pt>
                <c:pt idx="137">
                  <c:v>69</c:v>
                </c:pt>
                <c:pt idx="138">
                  <c:v>475</c:v>
                </c:pt>
                <c:pt idx="139">
                  <c:v>709</c:v>
                </c:pt>
                <c:pt idx="140">
                  <c:v>963</c:v>
                </c:pt>
                <c:pt idx="141">
                  <c:v>1240</c:v>
                </c:pt>
                <c:pt idx="142">
                  <c:v>1812</c:v>
                </c:pt>
                <c:pt idx="143">
                  <c:v>805</c:v>
                </c:pt>
                <c:pt idx="144">
                  <c:v>494</c:v>
                </c:pt>
                <c:pt idx="145">
                  <c:v>1750</c:v>
                </c:pt>
                <c:pt idx="146">
                  <c:v>2013</c:v>
                </c:pt>
                <c:pt idx="147">
                  <c:v>2159</c:v>
                </c:pt>
                <c:pt idx="148">
                  <c:v>2616</c:v>
                </c:pt>
                <c:pt idx="149">
                  <c:v>3535</c:v>
                </c:pt>
                <c:pt idx="150">
                  <c:v>1215</c:v>
                </c:pt>
                <c:pt idx="151">
                  <c:v>981</c:v>
                </c:pt>
                <c:pt idx="152">
                  <c:v>2701</c:v>
                </c:pt>
                <c:pt idx="153">
                  <c:v>2842</c:v>
                </c:pt>
                <c:pt idx="154">
                  <c:v>2661</c:v>
                </c:pt>
                <c:pt idx="155">
                  <c:v>2726</c:v>
                </c:pt>
                <c:pt idx="156">
                  <c:v>3513</c:v>
                </c:pt>
                <c:pt idx="157">
                  <c:v>1065</c:v>
                </c:pt>
                <c:pt idx="158">
                  <c:v>787</c:v>
                </c:pt>
                <c:pt idx="159">
                  <c:v>2192</c:v>
                </c:pt>
                <c:pt idx="160">
                  <c:v>1926</c:v>
                </c:pt>
                <c:pt idx="161">
                  <c:v>1917</c:v>
                </c:pt>
                <c:pt idx="162">
                  <c:v>2518</c:v>
                </c:pt>
                <c:pt idx="163">
                  <c:v>3287</c:v>
                </c:pt>
                <c:pt idx="164">
                  <c:v>1370</c:v>
                </c:pt>
                <c:pt idx="165">
                  <c:v>1179</c:v>
                </c:pt>
                <c:pt idx="166">
                  <c:v>2910</c:v>
                </c:pt>
                <c:pt idx="167">
                  <c:v>2995</c:v>
                </c:pt>
                <c:pt idx="168">
                  <c:v>3065</c:v>
                </c:pt>
                <c:pt idx="169">
                  <c:v>3624</c:v>
                </c:pt>
                <c:pt idx="170">
                  <c:v>3869</c:v>
                </c:pt>
                <c:pt idx="171">
                  <c:v>1735</c:v>
                </c:pt>
                <c:pt idx="172">
                  <c:v>1345</c:v>
                </c:pt>
                <c:pt idx="173">
                  <c:v>2953</c:v>
                </c:pt>
                <c:pt idx="174">
                  <c:v>4679</c:v>
                </c:pt>
                <c:pt idx="175">
                  <c:v>11153</c:v>
                </c:pt>
                <c:pt idx="176">
                  <c:v>20520</c:v>
                </c:pt>
                <c:pt idx="177">
                  <c:v>20724</c:v>
                </c:pt>
                <c:pt idx="178">
                  <c:v>10939</c:v>
                </c:pt>
                <c:pt idx="179">
                  <c:v>9687</c:v>
                </c:pt>
                <c:pt idx="180">
                  <c:v>31894</c:v>
                </c:pt>
                <c:pt idx="181">
                  <c:v>27352</c:v>
                </c:pt>
                <c:pt idx="182">
                  <c:v>27113</c:v>
                </c:pt>
                <c:pt idx="183" formatCode="#,##0">
                  <c:v>22787</c:v>
                </c:pt>
                <c:pt idx="184" formatCode="#,##0">
                  <c:v>22700</c:v>
                </c:pt>
                <c:pt idx="185" formatCode="#,##0">
                  <c:v>10473</c:v>
                </c:pt>
                <c:pt idx="186" formatCode="#,##0">
                  <c:v>7701</c:v>
                </c:pt>
                <c:pt idx="187" formatCode="#,##0">
                  <c:v>12610</c:v>
                </c:pt>
                <c:pt idx="188" formatCode="#,##0">
                  <c:v>11056</c:v>
                </c:pt>
                <c:pt idx="189" formatCode="#,##0">
                  <c:v>13396</c:v>
                </c:pt>
                <c:pt idx="190" formatCode="#,##0">
                  <c:v>10639</c:v>
                </c:pt>
                <c:pt idx="191" formatCode="#,##0">
                  <c:v>11616</c:v>
                </c:pt>
                <c:pt idx="192" formatCode="#,##0">
                  <c:v>5713</c:v>
                </c:pt>
                <c:pt idx="193" formatCode="#,##0">
                  <c:v>4378</c:v>
                </c:pt>
                <c:pt idx="194" formatCode="#,##0">
                  <c:v>7445</c:v>
                </c:pt>
                <c:pt idx="195" formatCode="#,##0">
                  <c:v>7156</c:v>
                </c:pt>
                <c:pt idx="196" formatCode="#,##0">
                  <c:v>7249</c:v>
                </c:pt>
                <c:pt idx="197" formatCode="#,##0">
                  <c:v>6349</c:v>
                </c:pt>
                <c:pt idx="198" formatCode="#,##0">
                  <c:v>7283</c:v>
                </c:pt>
                <c:pt idx="199" formatCode="#,##0">
                  <c:v>3388</c:v>
                </c:pt>
                <c:pt idx="200" formatCode="#,##0">
                  <c:v>2099</c:v>
                </c:pt>
                <c:pt idx="201" formatCode="#,##0">
                  <c:v>5092</c:v>
                </c:pt>
                <c:pt idx="202" formatCode="#,##0">
                  <c:v>4889</c:v>
                </c:pt>
                <c:pt idx="203" formatCode="#,##0">
                  <c:v>3345</c:v>
                </c:pt>
                <c:pt idx="204" formatCode="#,##0">
                  <c:v>3906</c:v>
                </c:pt>
                <c:pt idx="205" formatCode="#,##0">
                  <c:v>3835</c:v>
                </c:pt>
                <c:pt idx="206" formatCode="#,##0">
                  <c:v>3732</c:v>
                </c:pt>
                <c:pt idx="207" formatCode="#,##0">
                  <c:v>3717</c:v>
                </c:pt>
                <c:pt idx="208" formatCode="#,##0">
                  <c:v>3831</c:v>
                </c:pt>
                <c:pt idx="209" formatCode="#,##0">
                  <c:v>3866</c:v>
                </c:pt>
                <c:pt idx="210" formatCode="#,##0">
                  <c:v>3843</c:v>
                </c:pt>
                <c:pt idx="211" formatCode="#,##0">
                  <c:v>3884</c:v>
                </c:pt>
                <c:pt idx="212" formatCode="#,##0">
                  <c:v>3808</c:v>
                </c:pt>
                <c:pt idx="213" formatCode="#,##0">
                  <c:v>3718</c:v>
                </c:pt>
                <c:pt idx="214" formatCode="#,##0">
                  <c:v>3719</c:v>
                </c:pt>
                <c:pt idx="215" formatCode="#,##0">
                  <c:v>3799</c:v>
                </c:pt>
                <c:pt idx="216" formatCode="#,##0">
                  <c:v>3838</c:v>
                </c:pt>
                <c:pt idx="217" formatCode="#,##0">
                  <c:v>3864</c:v>
                </c:pt>
                <c:pt idx="218" formatCode="#,##0">
                  <c:v>3922</c:v>
                </c:pt>
                <c:pt idx="219" formatCode="#,##0">
                  <c:v>3918</c:v>
                </c:pt>
                <c:pt idx="220" formatCode="#,##0">
                  <c:v>3722</c:v>
                </c:pt>
                <c:pt idx="221" formatCode="#,##0">
                  <c:v>3718</c:v>
                </c:pt>
                <c:pt idx="222" formatCode="#,##0">
                  <c:v>3940</c:v>
                </c:pt>
                <c:pt idx="223" formatCode="#,##0">
                  <c:v>4005</c:v>
                </c:pt>
                <c:pt idx="224" formatCode="#,##0">
                  <c:v>4086</c:v>
                </c:pt>
                <c:pt idx="225" formatCode="#,##0">
                  <c:v>5691</c:v>
                </c:pt>
                <c:pt idx="226" formatCode="#,##0">
                  <c:v>5637</c:v>
                </c:pt>
                <c:pt idx="227" formatCode="#,##0">
                  <c:v>5329</c:v>
                </c:pt>
                <c:pt idx="228" formatCode="#,##0">
                  <c:v>5314</c:v>
                </c:pt>
                <c:pt idx="229" formatCode="#,##0">
                  <c:v>5504</c:v>
                </c:pt>
                <c:pt idx="230" formatCode="#,##0">
                  <c:v>5524</c:v>
                </c:pt>
                <c:pt idx="231" formatCode="#,##0">
                  <c:v>5544</c:v>
                </c:pt>
                <c:pt idx="232" formatCode="#,##0">
                  <c:v>5562</c:v>
                </c:pt>
                <c:pt idx="233" formatCode="#,##0">
                  <c:v>5430</c:v>
                </c:pt>
                <c:pt idx="234" formatCode="#,##0">
                  <c:v>5309</c:v>
                </c:pt>
                <c:pt idx="235" formatCode="#,##0">
                  <c:v>0</c:v>
                </c:pt>
                <c:pt idx="236" formatCode="#,##0">
                  <c:v>86</c:v>
                </c:pt>
                <c:pt idx="237" formatCode="#,##0">
                  <c:v>100</c:v>
                </c:pt>
                <c:pt idx="238" formatCode="#,##0">
                  <c:v>71</c:v>
                </c:pt>
                <c:pt idx="239" formatCode="#,##0">
                  <c:v>76</c:v>
                </c:pt>
                <c:pt idx="240" formatCode="#,##0">
                  <c:v>45</c:v>
                </c:pt>
                <c:pt idx="241" formatCode="#,##0">
                  <c:v>8</c:v>
                </c:pt>
                <c:pt idx="242" formatCode="#,##0">
                  <c:v>0</c:v>
                </c:pt>
                <c:pt idx="243" formatCode="#,##0">
                  <c:v>37</c:v>
                </c:pt>
                <c:pt idx="244" formatCode="#,##0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D85-47C2-92CB-D22E4A4C65D5}"/>
            </c:ext>
          </c:extLst>
        </c:ser>
        <c:ser>
          <c:idx val="7"/>
          <c:order val="7"/>
          <c:tx>
            <c:strRef>
              <c:f>List1!$I$1</c:f>
              <c:strCache>
                <c:ptCount val="1"/>
                <c:pt idx="0">
                  <c:v>11 50-54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I$5:$I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74</c:v>
                </c:pt>
                <c:pt idx="19">
                  <c:v>202</c:v>
                </c:pt>
                <c:pt idx="20">
                  <c:v>270</c:v>
                </c:pt>
                <c:pt idx="21">
                  <c:v>259</c:v>
                </c:pt>
                <c:pt idx="22">
                  <c:v>197</c:v>
                </c:pt>
                <c:pt idx="23">
                  <c:v>107</c:v>
                </c:pt>
                <c:pt idx="24">
                  <c:v>113</c:v>
                </c:pt>
                <c:pt idx="25">
                  <c:v>109</c:v>
                </c:pt>
                <c:pt idx="26">
                  <c:v>326</c:v>
                </c:pt>
                <c:pt idx="27">
                  <c:v>520</c:v>
                </c:pt>
                <c:pt idx="28">
                  <c:v>600</c:v>
                </c:pt>
                <c:pt idx="29">
                  <c:v>723</c:v>
                </c:pt>
                <c:pt idx="30">
                  <c:v>933</c:v>
                </c:pt>
                <c:pt idx="31">
                  <c:v>103</c:v>
                </c:pt>
                <c:pt idx="32">
                  <c:v>119</c:v>
                </c:pt>
                <c:pt idx="33">
                  <c:v>874</c:v>
                </c:pt>
                <c:pt idx="34">
                  <c:v>1097</c:v>
                </c:pt>
                <c:pt idx="35">
                  <c:v>1188</c:v>
                </c:pt>
                <c:pt idx="36">
                  <c:v>1364</c:v>
                </c:pt>
                <c:pt idx="37">
                  <c:v>1189</c:v>
                </c:pt>
                <c:pt idx="38">
                  <c:v>147</c:v>
                </c:pt>
                <c:pt idx="39">
                  <c:v>114</c:v>
                </c:pt>
                <c:pt idx="40">
                  <c:v>918</c:v>
                </c:pt>
                <c:pt idx="41">
                  <c:v>857</c:v>
                </c:pt>
                <c:pt idx="42">
                  <c:v>890</c:v>
                </c:pt>
                <c:pt idx="43">
                  <c:v>928</c:v>
                </c:pt>
                <c:pt idx="44">
                  <c:v>822</c:v>
                </c:pt>
                <c:pt idx="45">
                  <c:v>116</c:v>
                </c:pt>
                <c:pt idx="46">
                  <c:v>28</c:v>
                </c:pt>
                <c:pt idx="47">
                  <c:v>508</c:v>
                </c:pt>
                <c:pt idx="48">
                  <c:v>492</c:v>
                </c:pt>
                <c:pt idx="49">
                  <c:v>468</c:v>
                </c:pt>
                <c:pt idx="50">
                  <c:v>458</c:v>
                </c:pt>
                <c:pt idx="51">
                  <c:v>369</c:v>
                </c:pt>
                <c:pt idx="52">
                  <c:v>14</c:v>
                </c:pt>
                <c:pt idx="53">
                  <c:v>19</c:v>
                </c:pt>
                <c:pt idx="54">
                  <c:v>274</c:v>
                </c:pt>
                <c:pt idx="55">
                  <c:v>314</c:v>
                </c:pt>
                <c:pt idx="56">
                  <c:v>270</c:v>
                </c:pt>
                <c:pt idx="57">
                  <c:v>236</c:v>
                </c:pt>
                <c:pt idx="58">
                  <c:v>246</c:v>
                </c:pt>
                <c:pt idx="59">
                  <c:v>7</c:v>
                </c:pt>
                <c:pt idx="60">
                  <c:v>11</c:v>
                </c:pt>
                <c:pt idx="61">
                  <c:v>131</c:v>
                </c:pt>
                <c:pt idx="62">
                  <c:v>151</c:v>
                </c:pt>
                <c:pt idx="63">
                  <c:v>212</c:v>
                </c:pt>
                <c:pt idx="64">
                  <c:v>199</c:v>
                </c:pt>
                <c:pt idx="65">
                  <c:v>221</c:v>
                </c:pt>
                <c:pt idx="66">
                  <c:v>8</c:v>
                </c:pt>
                <c:pt idx="67">
                  <c:v>8</c:v>
                </c:pt>
                <c:pt idx="68">
                  <c:v>185</c:v>
                </c:pt>
                <c:pt idx="69">
                  <c:v>228</c:v>
                </c:pt>
                <c:pt idx="70">
                  <c:v>362</c:v>
                </c:pt>
                <c:pt idx="71">
                  <c:v>470</c:v>
                </c:pt>
                <c:pt idx="72">
                  <c:v>461</c:v>
                </c:pt>
                <c:pt idx="73">
                  <c:v>28</c:v>
                </c:pt>
                <c:pt idx="74">
                  <c:v>82</c:v>
                </c:pt>
                <c:pt idx="75">
                  <c:v>374</c:v>
                </c:pt>
                <c:pt idx="76">
                  <c:v>388</c:v>
                </c:pt>
                <c:pt idx="77">
                  <c:v>493</c:v>
                </c:pt>
                <c:pt idx="78">
                  <c:v>542</c:v>
                </c:pt>
                <c:pt idx="79">
                  <c:v>585</c:v>
                </c:pt>
                <c:pt idx="80">
                  <c:v>61</c:v>
                </c:pt>
                <c:pt idx="81">
                  <c:v>44</c:v>
                </c:pt>
                <c:pt idx="82">
                  <c:v>651</c:v>
                </c:pt>
                <c:pt idx="83">
                  <c:v>675</c:v>
                </c:pt>
                <c:pt idx="84">
                  <c:v>768</c:v>
                </c:pt>
                <c:pt idx="85">
                  <c:v>780</c:v>
                </c:pt>
                <c:pt idx="86">
                  <c:v>921</c:v>
                </c:pt>
                <c:pt idx="87">
                  <c:v>213</c:v>
                </c:pt>
                <c:pt idx="88">
                  <c:v>244</c:v>
                </c:pt>
                <c:pt idx="89">
                  <c:v>999</c:v>
                </c:pt>
                <c:pt idx="90">
                  <c:v>1275</c:v>
                </c:pt>
                <c:pt idx="91">
                  <c:v>1194</c:v>
                </c:pt>
                <c:pt idx="92">
                  <c:v>1434</c:v>
                </c:pt>
                <c:pt idx="93">
                  <c:v>531</c:v>
                </c:pt>
                <c:pt idx="94">
                  <c:v>518</c:v>
                </c:pt>
                <c:pt idx="95">
                  <c:v>415</c:v>
                </c:pt>
                <c:pt idx="96">
                  <c:v>359</c:v>
                </c:pt>
                <c:pt idx="97">
                  <c:v>1474</c:v>
                </c:pt>
                <c:pt idx="98">
                  <c:v>1024</c:v>
                </c:pt>
                <c:pt idx="99">
                  <c:v>1227</c:v>
                </c:pt>
                <c:pt idx="100">
                  <c:v>1439</c:v>
                </c:pt>
                <c:pt idx="101">
                  <c:v>615</c:v>
                </c:pt>
                <c:pt idx="102">
                  <c:v>537</c:v>
                </c:pt>
                <c:pt idx="103">
                  <c:v>1120</c:v>
                </c:pt>
                <c:pt idx="104">
                  <c:v>1519</c:v>
                </c:pt>
                <c:pt idx="105">
                  <c:v>1332</c:v>
                </c:pt>
                <c:pt idx="106">
                  <c:v>1183</c:v>
                </c:pt>
                <c:pt idx="107">
                  <c:v>1550</c:v>
                </c:pt>
                <c:pt idx="108">
                  <c:v>722</c:v>
                </c:pt>
                <c:pt idx="109">
                  <c:v>195</c:v>
                </c:pt>
                <c:pt idx="110">
                  <c:v>677</c:v>
                </c:pt>
                <c:pt idx="111">
                  <c:v>757</c:v>
                </c:pt>
                <c:pt idx="112">
                  <c:v>614</c:v>
                </c:pt>
                <c:pt idx="113">
                  <c:v>848</c:v>
                </c:pt>
                <c:pt idx="114">
                  <c:v>630</c:v>
                </c:pt>
                <c:pt idx="115">
                  <c:v>185</c:v>
                </c:pt>
                <c:pt idx="116">
                  <c:v>184</c:v>
                </c:pt>
                <c:pt idx="117">
                  <c:v>302</c:v>
                </c:pt>
                <c:pt idx="118">
                  <c:v>665</c:v>
                </c:pt>
                <c:pt idx="119">
                  <c:v>721</c:v>
                </c:pt>
                <c:pt idx="120">
                  <c:v>810</c:v>
                </c:pt>
                <c:pt idx="121">
                  <c:v>680</c:v>
                </c:pt>
                <c:pt idx="122">
                  <c:v>195</c:v>
                </c:pt>
                <c:pt idx="123">
                  <c:v>193</c:v>
                </c:pt>
                <c:pt idx="124">
                  <c:v>292</c:v>
                </c:pt>
                <c:pt idx="125">
                  <c:v>411</c:v>
                </c:pt>
                <c:pt idx="126">
                  <c:v>533</c:v>
                </c:pt>
                <c:pt idx="127">
                  <c:v>597</c:v>
                </c:pt>
                <c:pt idx="128">
                  <c:v>678</c:v>
                </c:pt>
                <c:pt idx="129">
                  <c:v>96</c:v>
                </c:pt>
                <c:pt idx="130">
                  <c:v>111</c:v>
                </c:pt>
                <c:pt idx="131">
                  <c:v>448</c:v>
                </c:pt>
                <c:pt idx="132">
                  <c:v>433</c:v>
                </c:pt>
                <c:pt idx="133">
                  <c:v>467</c:v>
                </c:pt>
                <c:pt idx="134">
                  <c:v>442</c:v>
                </c:pt>
                <c:pt idx="135">
                  <c:v>562</c:v>
                </c:pt>
                <c:pt idx="136">
                  <c:v>139</c:v>
                </c:pt>
                <c:pt idx="137">
                  <c:v>50</c:v>
                </c:pt>
                <c:pt idx="138">
                  <c:v>403</c:v>
                </c:pt>
                <c:pt idx="139">
                  <c:v>707</c:v>
                </c:pt>
                <c:pt idx="140">
                  <c:v>955</c:v>
                </c:pt>
                <c:pt idx="141">
                  <c:v>1199</c:v>
                </c:pt>
                <c:pt idx="142">
                  <c:v>1480</c:v>
                </c:pt>
                <c:pt idx="143">
                  <c:v>550</c:v>
                </c:pt>
                <c:pt idx="144">
                  <c:v>342</c:v>
                </c:pt>
                <c:pt idx="145">
                  <c:v>1594</c:v>
                </c:pt>
                <c:pt idx="146">
                  <c:v>1902</c:v>
                </c:pt>
                <c:pt idx="147">
                  <c:v>1974</c:v>
                </c:pt>
                <c:pt idx="148">
                  <c:v>2456</c:v>
                </c:pt>
                <c:pt idx="149">
                  <c:v>2937</c:v>
                </c:pt>
                <c:pt idx="150">
                  <c:v>1237</c:v>
                </c:pt>
                <c:pt idx="151">
                  <c:v>834</c:v>
                </c:pt>
                <c:pt idx="152">
                  <c:v>2741</c:v>
                </c:pt>
                <c:pt idx="153">
                  <c:v>2651</c:v>
                </c:pt>
                <c:pt idx="154">
                  <c:v>2475</c:v>
                </c:pt>
                <c:pt idx="155">
                  <c:v>2654</c:v>
                </c:pt>
                <c:pt idx="156">
                  <c:v>3251</c:v>
                </c:pt>
                <c:pt idx="157">
                  <c:v>791</c:v>
                </c:pt>
                <c:pt idx="158">
                  <c:v>610</c:v>
                </c:pt>
                <c:pt idx="159">
                  <c:v>1952</c:v>
                </c:pt>
                <c:pt idx="160">
                  <c:v>1834</c:v>
                </c:pt>
                <c:pt idx="161">
                  <c:v>1796</c:v>
                </c:pt>
                <c:pt idx="162">
                  <c:v>2172</c:v>
                </c:pt>
                <c:pt idx="163">
                  <c:v>2642</c:v>
                </c:pt>
                <c:pt idx="164">
                  <c:v>1021</c:v>
                </c:pt>
                <c:pt idx="165">
                  <c:v>854</c:v>
                </c:pt>
                <c:pt idx="166">
                  <c:v>2381</c:v>
                </c:pt>
                <c:pt idx="167">
                  <c:v>2582</c:v>
                </c:pt>
                <c:pt idx="168">
                  <c:v>3398</c:v>
                </c:pt>
                <c:pt idx="169">
                  <c:v>9421</c:v>
                </c:pt>
                <c:pt idx="170">
                  <c:v>11703</c:v>
                </c:pt>
                <c:pt idx="171">
                  <c:v>7797</c:v>
                </c:pt>
                <c:pt idx="172">
                  <c:v>6705</c:v>
                </c:pt>
                <c:pt idx="173">
                  <c:v>22572</c:v>
                </c:pt>
                <c:pt idx="174">
                  <c:v>22748</c:v>
                </c:pt>
                <c:pt idx="175">
                  <c:v>25449</c:v>
                </c:pt>
                <c:pt idx="176">
                  <c:v>22288</c:v>
                </c:pt>
                <c:pt idx="177">
                  <c:v>21867</c:v>
                </c:pt>
                <c:pt idx="178">
                  <c:v>8051</c:v>
                </c:pt>
                <c:pt idx="179">
                  <c:v>6226</c:v>
                </c:pt>
                <c:pt idx="180">
                  <c:v>13321</c:v>
                </c:pt>
                <c:pt idx="181">
                  <c:v>12309</c:v>
                </c:pt>
                <c:pt idx="182">
                  <c:v>11318</c:v>
                </c:pt>
                <c:pt idx="183">
                  <c:v>9874</c:v>
                </c:pt>
                <c:pt idx="184">
                  <c:v>9837</c:v>
                </c:pt>
                <c:pt idx="185">
                  <c:v>3966</c:v>
                </c:pt>
                <c:pt idx="186">
                  <c:v>3196</c:v>
                </c:pt>
                <c:pt idx="187">
                  <c:v>4591</c:v>
                </c:pt>
                <c:pt idx="188">
                  <c:v>4787</c:v>
                </c:pt>
                <c:pt idx="189">
                  <c:v>6492</c:v>
                </c:pt>
                <c:pt idx="190">
                  <c:v>5526</c:v>
                </c:pt>
                <c:pt idx="191">
                  <c:v>5871</c:v>
                </c:pt>
                <c:pt idx="192">
                  <c:v>2767</c:v>
                </c:pt>
                <c:pt idx="193">
                  <c:v>2216</c:v>
                </c:pt>
                <c:pt idx="194">
                  <c:v>3875</c:v>
                </c:pt>
                <c:pt idx="195">
                  <c:v>3974</c:v>
                </c:pt>
                <c:pt idx="196">
                  <c:v>4205</c:v>
                </c:pt>
                <c:pt idx="197">
                  <c:v>3738</c:v>
                </c:pt>
                <c:pt idx="198">
                  <c:v>4045</c:v>
                </c:pt>
                <c:pt idx="199">
                  <c:v>1975</c:v>
                </c:pt>
                <c:pt idx="200">
                  <c:v>1365</c:v>
                </c:pt>
                <c:pt idx="201">
                  <c:v>3255</c:v>
                </c:pt>
                <c:pt idx="202">
                  <c:v>3283</c:v>
                </c:pt>
                <c:pt idx="203">
                  <c:v>2404</c:v>
                </c:pt>
                <c:pt idx="204">
                  <c:v>2515</c:v>
                </c:pt>
                <c:pt idx="205">
                  <c:v>2516</c:v>
                </c:pt>
                <c:pt idx="206">
                  <c:v>2343</c:v>
                </c:pt>
                <c:pt idx="207">
                  <c:v>2336</c:v>
                </c:pt>
                <c:pt idx="208">
                  <c:v>2470</c:v>
                </c:pt>
                <c:pt idx="209">
                  <c:v>2483</c:v>
                </c:pt>
                <c:pt idx="210">
                  <c:v>2523</c:v>
                </c:pt>
                <c:pt idx="211">
                  <c:v>2505</c:v>
                </c:pt>
                <c:pt idx="212">
                  <c:v>2455</c:v>
                </c:pt>
                <c:pt idx="213">
                  <c:v>2342</c:v>
                </c:pt>
                <c:pt idx="214">
                  <c:v>2042</c:v>
                </c:pt>
                <c:pt idx="215">
                  <c:v>2158</c:v>
                </c:pt>
                <c:pt idx="216">
                  <c:v>2208</c:v>
                </c:pt>
                <c:pt idx="217">
                  <c:v>2403</c:v>
                </c:pt>
                <c:pt idx="218">
                  <c:v>2527</c:v>
                </c:pt>
                <c:pt idx="219">
                  <c:v>2496</c:v>
                </c:pt>
                <c:pt idx="220">
                  <c:v>2067</c:v>
                </c:pt>
                <c:pt idx="221">
                  <c:v>2042</c:v>
                </c:pt>
                <c:pt idx="222">
                  <c:v>2418</c:v>
                </c:pt>
                <c:pt idx="223">
                  <c:v>2548</c:v>
                </c:pt>
                <c:pt idx="224">
                  <c:v>2492</c:v>
                </c:pt>
                <c:pt idx="225">
                  <c:v>3302</c:v>
                </c:pt>
                <c:pt idx="226">
                  <c:v>3233</c:v>
                </c:pt>
                <c:pt idx="227">
                  <c:v>2933</c:v>
                </c:pt>
                <c:pt idx="228">
                  <c:v>2917</c:v>
                </c:pt>
                <c:pt idx="229">
                  <c:v>3086</c:v>
                </c:pt>
                <c:pt idx="230">
                  <c:v>3173</c:v>
                </c:pt>
                <c:pt idx="231">
                  <c:v>3111</c:v>
                </c:pt>
                <c:pt idx="232">
                  <c:v>3137</c:v>
                </c:pt>
                <c:pt idx="233">
                  <c:v>3002</c:v>
                </c:pt>
                <c:pt idx="234">
                  <c:v>2910</c:v>
                </c:pt>
                <c:pt idx="235">
                  <c:v>2910</c:v>
                </c:pt>
                <c:pt idx="236">
                  <c:v>2964</c:v>
                </c:pt>
                <c:pt idx="237">
                  <c:v>2985</c:v>
                </c:pt>
                <c:pt idx="238">
                  <c:v>2974</c:v>
                </c:pt>
                <c:pt idx="239">
                  <c:v>2979</c:v>
                </c:pt>
                <c:pt idx="240">
                  <c:v>2951</c:v>
                </c:pt>
                <c:pt idx="241">
                  <c:v>2911</c:v>
                </c:pt>
                <c:pt idx="242">
                  <c:v>2908</c:v>
                </c:pt>
                <c:pt idx="243">
                  <c:v>2943</c:v>
                </c:pt>
                <c:pt idx="244">
                  <c:v>29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D85-47C2-92CB-D22E4A4C65D5}"/>
            </c:ext>
          </c:extLst>
        </c:ser>
        <c:ser>
          <c:idx val="8"/>
          <c:order val="8"/>
          <c:tx>
            <c:strRef>
              <c:f>List1!$J$1</c:f>
              <c:strCache>
                <c:ptCount val="1"/>
                <c:pt idx="0">
                  <c:v>12 55-59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J$5:$J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52</c:v>
                </c:pt>
                <c:pt idx="19">
                  <c:v>145</c:v>
                </c:pt>
                <c:pt idx="20">
                  <c:v>265</c:v>
                </c:pt>
                <c:pt idx="21">
                  <c:v>284</c:v>
                </c:pt>
                <c:pt idx="22">
                  <c:v>176</c:v>
                </c:pt>
                <c:pt idx="23">
                  <c:v>112</c:v>
                </c:pt>
                <c:pt idx="24">
                  <c:v>96</c:v>
                </c:pt>
                <c:pt idx="25">
                  <c:v>93</c:v>
                </c:pt>
                <c:pt idx="26">
                  <c:v>341</c:v>
                </c:pt>
                <c:pt idx="27">
                  <c:v>457</c:v>
                </c:pt>
                <c:pt idx="28">
                  <c:v>519</c:v>
                </c:pt>
                <c:pt idx="29">
                  <c:v>643</c:v>
                </c:pt>
                <c:pt idx="30">
                  <c:v>841</c:v>
                </c:pt>
                <c:pt idx="31">
                  <c:v>124</c:v>
                </c:pt>
                <c:pt idx="32">
                  <c:v>107</c:v>
                </c:pt>
                <c:pt idx="33">
                  <c:v>829</c:v>
                </c:pt>
                <c:pt idx="34">
                  <c:v>1031</c:v>
                </c:pt>
                <c:pt idx="35">
                  <c:v>1179</c:v>
                </c:pt>
                <c:pt idx="36">
                  <c:v>1318</c:v>
                </c:pt>
                <c:pt idx="37">
                  <c:v>1073</c:v>
                </c:pt>
                <c:pt idx="38">
                  <c:v>134</c:v>
                </c:pt>
                <c:pt idx="39">
                  <c:v>130</c:v>
                </c:pt>
                <c:pt idx="40">
                  <c:v>919</c:v>
                </c:pt>
                <c:pt idx="41">
                  <c:v>851</c:v>
                </c:pt>
                <c:pt idx="42">
                  <c:v>932</c:v>
                </c:pt>
                <c:pt idx="43">
                  <c:v>962</c:v>
                </c:pt>
                <c:pt idx="44">
                  <c:v>791</c:v>
                </c:pt>
                <c:pt idx="45">
                  <c:v>123</c:v>
                </c:pt>
                <c:pt idx="46">
                  <c:v>26</c:v>
                </c:pt>
                <c:pt idx="47">
                  <c:v>472</c:v>
                </c:pt>
                <c:pt idx="48">
                  <c:v>459</c:v>
                </c:pt>
                <c:pt idx="49">
                  <c:v>497</c:v>
                </c:pt>
                <c:pt idx="50">
                  <c:v>464</c:v>
                </c:pt>
                <c:pt idx="51">
                  <c:v>382</c:v>
                </c:pt>
                <c:pt idx="52">
                  <c:v>13</c:v>
                </c:pt>
                <c:pt idx="53">
                  <c:v>20</c:v>
                </c:pt>
                <c:pt idx="54">
                  <c:v>284</c:v>
                </c:pt>
                <c:pt idx="55">
                  <c:v>326</c:v>
                </c:pt>
                <c:pt idx="56">
                  <c:v>251</c:v>
                </c:pt>
                <c:pt idx="57">
                  <c:v>232</c:v>
                </c:pt>
                <c:pt idx="58">
                  <c:v>275</c:v>
                </c:pt>
                <c:pt idx="59">
                  <c:v>12</c:v>
                </c:pt>
                <c:pt idx="60">
                  <c:v>9</c:v>
                </c:pt>
                <c:pt idx="61">
                  <c:v>107</c:v>
                </c:pt>
                <c:pt idx="62">
                  <c:v>171</c:v>
                </c:pt>
                <c:pt idx="63">
                  <c:v>235</c:v>
                </c:pt>
                <c:pt idx="64">
                  <c:v>197</c:v>
                </c:pt>
                <c:pt idx="65">
                  <c:v>248</c:v>
                </c:pt>
                <c:pt idx="66">
                  <c:v>12</c:v>
                </c:pt>
                <c:pt idx="67">
                  <c:v>15</c:v>
                </c:pt>
                <c:pt idx="68">
                  <c:v>185</c:v>
                </c:pt>
                <c:pt idx="69">
                  <c:v>259</c:v>
                </c:pt>
                <c:pt idx="70">
                  <c:v>326</c:v>
                </c:pt>
                <c:pt idx="71">
                  <c:v>438</c:v>
                </c:pt>
                <c:pt idx="72">
                  <c:v>498</c:v>
                </c:pt>
                <c:pt idx="73">
                  <c:v>44</c:v>
                </c:pt>
                <c:pt idx="74">
                  <c:v>77</c:v>
                </c:pt>
                <c:pt idx="75">
                  <c:v>363</c:v>
                </c:pt>
                <c:pt idx="76">
                  <c:v>384</c:v>
                </c:pt>
                <c:pt idx="77">
                  <c:v>423</c:v>
                </c:pt>
                <c:pt idx="78">
                  <c:v>473</c:v>
                </c:pt>
                <c:pt idx="79">
                  <c:v>574</c:v>
                </c:pt>
                <c:pt idx="80">
                  <c:v>59</c:v>
                </c:pt>
                <c:pt idx="81">
                  <c:v>43</c:v>
                </c:pt>
                <c:pt idx="82">
                  <c:v>931</c:v>
                </c:pt>
                <c:pt idx="83">
                  <c:v>966</c:v>
                </c:pt>
                <c:pt idx="84">
                  <c:v>1163</c:v>
                </c:pt>
                <c:pt idx="85">
                  <c:v>1220</c:v>
                </c:pt>
                <c:pt idx="86">
                  <c:v>1192</c:v>
                </c:pt>
                <c:pt idx="87">
                  <c:v>419</c:v>
                </c:pt>
                <c:pt idx="88">
                  <c:v>294</c:v>
                </c:pt>
                <c:pt idx="89">
                  <c:v>1425</c:v>
                </c:pt>
                <c:pt idx="90">
                  <c:v>1515</c:v>
                </c:pt>
                <c:pt idx="91">
                  <c:v>1656</c:v>
                </c:pt>
                <c:pt idx="92">
                  <c:v>1866</c:v>
                </c:pt>
                <c:pt idx="93">
                  <c:v>739</c:v>
                </c:pt>
                <c:pt idx="94">
                  <c:v>675</c:v>
                </c:pt>
                <c:pt idx="95">
                  <c:v>557</c:v>
                </c:pt>
                <c:pt idx="96">
                  <c:v>360</c:v>
                </c:pt>
                <c:pt idx="97">
                  <c:v>1962</c:v>
                </c:pt>
                <c:pt idx="98">
                  <c:v>1570</c:v>
                </c:pt>
                <c:pt idx="99">
                  <c:v>1395</c:v>
                </c:pt>
                <c:pt idx="100">
                  <c:v>1740</c:v>
                </c:pt>
                <c:pt idx="101">
                  <c:v>615</c:v>
                </c:pt>
                <c:pt idx="102">
                  <c:v>408</c:v>
                </c:pt>
                <c:pt idx="103">
                  <c:v>1203</c:v>
                </c:pt>
                <c:pt idx="104">
                  <c:v>1312</c:v>
                </c:pt>
                <c:pt idx="105">
                  <c:v>1300</c:v>
                </c:pt>
                <c:pt idx="106">
                  <c:v>1204</c:v>
                </c:pt>
                <c:pt idx="107">
                  <c:v>1693</c:v>
                </c:pt>
                <c:pt idx="108">
                  <c:v>684</c:v>
                </c:pt>
                <c:pt idx="109">
                  <c:v>187</c:v>
                </c:pt>
                <c:pt idx="110">
                  <c:v>794</c:v>
                </c:pt>
                <c:pt idx="111">
                  <c:v>815</c:v>
                </c:pt>
                <c:pt idx="112">
                  <c:v>726</c:v>
                </c:pt>
                <c:pt idx="113">
                  <c:v>1078</c:v>
                </c:pt>
                <c:pt idx="114">
                  <c:v>679</c:v>
                </c:pt>
                <c:pt idx="115">
                  <c:v>190</c:v>
                </c:pt>
                <c:pt idx="116">
                  <c:v>345</c:v>
                </c:pt>
                <c:pt idx="117">
                  <c:v>441</c:v>
                </c:pt>
                <c:pt idx="118">
                  <c:v>732</c:v>
                </c:pt>
                <c:pt idx="119">
                  <c:v>833</c:v>
                </c:pt>
                <c:pt idx="120">
                  <c:v>925</c:v>
                </c:pt>
                <c:pt idx="121">
                  <c:v>700</c:v>
                </c:pt>
                <c:pt idx="122">
                  <c:v>230</c:v>
                </c:pt>
                <c:pt idx="123">
                  <c:v>151</c:v>
                </c:pt>
                <c:pt idx="124">
                  <c:v>282</c:v>
                </c:pt>
                <c:pt idx="125">
                  <c:v>457</c:v>
                </c:pt>
                <c:pt idx="126">
                  <c:v>556</c:v>
                </c:pt>
                <c:pt idx="127">
                  <c:v>672</c:v>
                </c:pt>
                <c:pt idx="128">
                  <c:v>739</c:v>
                </c:pt>
                <c:pt idx="129">
                  <c:v>121</c:v>
                </c:pt>
                <c:pt idx="130">
                  <c:v>106</c:v>
                </c:pt>
                <c:pt idx="131">
                  <c:v>515</c:v>
                </c:pt>
                <c:pt idx="132">
                  <c:v>468</c:v>
                </c:pt>
                <c:pt idx="133">
                  <c:v>488</c:v>
                </c:pt>
                <c:pt idx="134">
                  <c:v>536</c:v>
                </c:pt>
                <c:pt idx="135">
                  <c:v>548</c:v>
                </c:pt>
                <c:pt idx="136">
                  <c:v>138</c:v>
                </c:pt>
                <c:pt idx="137">
                  <c:v>47</c:v>
                </c:pt>
                <c:pt idx="138">
                  <c:v>432</c:v>
                </c:pt>
                <c:pt idx="139">
                  <c:v>765</c:v>
                </c:pt>
                <c:pt idx="140">
                  <c:v>977</c:v>
                </c:pt>
                <c:pt idx="141">
                  <c:v>1448</c:v>
                </c:pt>
                <c:pt idx="142">
                  <c:v>1726</c:v>
                </c:pt>
                <c:pt idx="143">
                  <c:v>761</c:v>
                </c:pt>
                <c:pt idx="144">
                  <c:v>447</c:v>
                </c:pt>
                <c:pt idx="145">
                  <c:v>1982</c:v>
                </c:pt>
                <c:pt idx="146">
                  <c:v>3022</c:v>
                </c:pt>
                <c:pt idx="147">
                  <c:v>2375</c:v>
                </c:pt>
                <c:pt idx="148">
                  <c:v>3090</c:v>
                </c:pt>
                <c:pt idx="149">
                  <c:v>3207</c:v>
                </c:pt>
                <c:pt idx="150">
                  <c:v>1344</c:v>
                </c:pt>
                <c:pt idx="151">
                  <c:v>965</c:v>
                </c:pt>
                <c:pt idx="152">
                  <c:v>2946</c:v>
                </c:pt>
                <c:pt idx="153">
                  <c:v>3012</c:v>
                </c:pt>
                <c:pt idx="154">
                  <c:v>2955</c:v>
                </c:pt>
                <c:pt idx="155">
                  <c:v>3139</c:v>
                </c:pt>
                <c:pt idx="156">
                  <c:v>3585</c:v>
                </c:pt>
                <c:pt idx="157">
                  <c:v>851</c:v>
                </c:pt>
                <c:pt idx="158">
                  <c:v>623</c:v>
                </c:pt>
                <c:pt idx="159">
                  <c:v>2408</c:v>
                </c:pt>
                <c:pt idx="160">
                  <c:v>2155</c:v>
                </c:pt>
                <c:pt idx="161">
                  <c:v>2247</c:v>
                </c:pt>
                <c:pt idx="162">
                  <c:v>5621</c:v>
                </c:pt>
                <c:pt idx="163">
                  <c:v>7713</c:v>
                </c:pt>
                <c:pt idx="164">
                  <c:v>4534</c:v>
                </c:pt>
                <c:pt idx="165">
                  <c:v>4460</c:v>
                </c:pt>
                <c:pt idx="166">
                  <c:v>17479</c:v>
                </c:pt>
                <c:pt idx="167">
                  <c:v>19184</c:v>
                </c:pt>
                <c:pt idx="168">
                  <c:v>21199</c:v>
                </c:pt>
                <c:pt idx="169">
                  <c:v>22105</c:v>
                </c:pt>
                <c:pt idx="170">
                  <c:v>21369</c:v>
                </c:pt>
                <c:pt idx="171">
                  <c:v>7676</c:v>
                </c:pt>
                <c:pt idx="172">
                  <c:v>6659</c:v>
                </c:pt>
                <c:pt idx="173">
                  <c:v>15103</c:v>
                </c:pt>
                <c:pt idx="174">
                  <c:v>14619</c:v>
                </c:pt>
                <c:pt idx="175">
                  <c:v>12768</c:v>
                </c:pt>
                <c:pt idx="176">
                  <c:v>11461</c:v>
                </c:pt>
                <c:pt idx="177">
                  <c:v>12661</c:v>
                </c:pt>
                <c:pt idx="178">
                  <c:v>4423</c:v>
                </c:pt>
                <c:pt idx="179">
                  <c:v>3756</c:v>
                </c:pt>
                <c:pt idx="180">
                  <c:v>7615</c:v>
                </c:pt>
                <c:pt idx="181">
                  <c:v>7216</c:v>
                </c:pt>
                <c:pt idx="182">
                  <c:v>6901</c:v>
                </c:pt>
                <c:pt idx="183">
                  <c:v>6391</c:v>
                </c:pt>
                <c:pt idx="184">
                  <c:v>5910</c:v>
                </c:pt>
                <c:pt idx="185">
                  <c:v>3017</c:v>
                </c:pt>
                <c:pt idx="186">
                  <c:v>2238</c:v>
                </c:pt>
                <c:pt idx="187">
                  <c:v>3355</c:v>
                </c:pt>
                <c:pt idx="188">
                  <c:v>3720</c:v>
                </c:pt>
                <c:pt idx="189">
                  <c:v>4898</c:v>
                </c:pt>
                <c:pt idx="190">
                  <c:v>4417</c:v>
                </c:pt>
                <c:pt idx="191">
                  <c:v>4369</c:v>
                </c:pt>
                <c:pt idx="192">
                  <c:v>1859</c:v>
                </c:pt>
                <c:pt idx="193">
                  <c:v>1360</c:v>
                </c:pt>
                <c:pt idx="194">
                  <c:v>2927</c:v>
                </c:pt>
                <c:pt idx="195">
                  <c:v>3187</c:v>
                </c:pt>
                <c:pt idx="196">
                  <c:v>3384</c:v>
                </c:pt>
                <c:pt idx="197">
                  <c:v>3264</c:v>
                </c:pt>
                <c:pt idx="198">
                  <c:v>3308</c:v>
                </c:pt>
                <c:pt idx="199">
                  <c:v>1583</c:v>
                </c:pt>
                <c:pt idx="200">
                  <c:v>991</c:v>
                </c:pt>
                <c:pt idx="201">
                  <c:v>2609</c:v>
                </c:pt>
                <c:pt idx="202">
                  <c:v>2592</c:v>
                </c:pt>
                <c:pt idx="203">
                  <c:v>1924</c:v>
                </c:pt>
                <c:pt idx="204">
                  <c:v>1976</c:v>
                </c:pt>
                <c:pt idx="205">
                  <c:v>1933</c:v>
                </c:pt>
                <c:pt idx="206">
                  <c:v>1673</c:v>
                </c:pt>
                <c:pt idx="207">
                  <c:v>1659</c:v>
                </c:pt>
                <c:pt idx="208">
                  <c:v>1924</c:v>
                </c:pt>
                <c:pt idx="209">
                  <c:v>1977</c:v>
                </c:pt>
                <c:pt idx="210">
                  <c:v>2066</c:v>
                </c:pt>
                <c:pt idx="211">
                  <c:v>2168</c:v>
                </c:pt>
                <c:pt idx="212">
                  <c:v>2072</c:v>
                </c:pt>
                <c:pt idx="213">
                  <c:v>1655</c:v>
                </c:pt>
                <c:pt idx="214">
                  <c:v>1653</c:v>
                </c:pt>
                <c:pt idx="215">
                  <c:v>2082</c:v>
                </c:pt>
                <c:pt idx="216">
                  <c:v>2185</c:v>
                </c:pt>
                <c:pt idx="217">
                  <c:v>2399</c:v>
                </c:pt>
                <c:pt idx="218">
                  <c:v>2369</c:v>
                </c:pt>
                <c:pt idx="219">
                  <c:v>2168</c:v>
                </c:pt>
                <c:pt idx="220">
                  <c:v>1670</c:v>
                </c:pt>
                <c:pt idx="221">
                  <c:v>1660</c:v>
                </c:pt>
                <c:pt idx="222">
                  <c:v>2132</c:v>
                </c:pt>
                <c:pt idx="223">
                  <c:v>2238</c:v>
                </c:pt>
                <c:pt idx="224">
                  <c:v>2181</c:v>
                </c:pt>
                <c:pt idx="225">
                  <c:v>2792</c:v>
                </c:pt>
                <c:pt idx="226">
                  <c:v>2705</c:v>
                </c:pt>
                <c:pt idx="227">
                  <c:v>2406</c:v>
                </c:pt>
                <c:pt idx="228">
                  <c:v>2362</c:v>
                </c:pt>
                <c:pt idx="229">
                  <c:v>2561</c:v>
                </c:pt>
                <c:pt idx="230">
                  <c:v>2602</c:v>
                </c:pt>
                <c:pt idx="231">
                  <c:v>2540</c:v>
                </c:pt>
                <c:pt idx="232">
                  <c:v>2540</c:v>
                </c:pt>
                <c:pt idx="233">
                  <c:v>2451</c:v>
                </c:pt>
                <c:pt idx="234">
                  <c:v>2353</c:v>
                </c:pt>
                <c:pt idx="235">
                  <c:v>2351</c:v>
                </c:pt>
                <c:pt idx="236">
                  <c:v>2445</c:v>
                </c:pt>
                <c:pt idx="237">
                  <c:v>2422</c:v>
                </c:pt>
                <c:pt idx="238">
                  <c:v>2425</c:v>
                </c:pt>
                <c:pt idx="239">
                  <c:v>2435</c:v>
                </c:pt>
                <c:pt idx="240">
                  <c:v>2399</c:v>
                </c:pt>
                <c:pt idx="241">
                  <c:v>2356</c:v>
                </c:pt>
                <c:pt idx="242">
                  <c:v>2352</c:v>
                </c:pt>
                <c:pt idx="243">
                  <c:v>2383</c:v>
                </c:pt>
                <c:pt idx="244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D85-47C2-92CB-D22E4A4C65D5}"/>
            </c:ext>
          </c:extLst>
        </c:ser>
        <c:ser>
          <c:idx val="9"/>
          <c:order val="9"/>
          <c:tx>
            <c:strRef>
              <c:f>List1!$K$1</c:f>
              <c:strCache>
                <c:ptCount val="1"/>
                <c:pt idx="0">
                  <c:v>13 60-64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K$5:$K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55</c:v>
                </c:pt>
                <c:pt idx="19">
                  <c:v>148</c:v>
                </c:pt>
                <c:pt idx="20">
                  <c:v>184</c:v>
                </c:pt>
                <c:pt idx="21">
                  <c:v>226</c:v>
                </c:pt>
                <c:pt idx="22">
                  <c:v>141</c:v>
                </c:pt>
                <c:pt idx="23">
                  <c:v>67</c:v>
                </c:pt>
                <c:pt idx="24">
                  <c:v>76</c:v>
                </c:pt>
                <c:pt idx="25">
                  <c:v>61</c:v>
                </c:pt>
                <c:pt idx="26">
                  <c:v>209</c:v>
                </c:pt>
                <c:pt idx="27">
                  <c:v>299</c:v>
                </c:pt>
                <c:pt idx="28">
                  <c:v>377</c:v>
                </c:pt>
                <c:pt idx="29">
                  <c:v>511</c:v>
                </c:pt>
                <c:pt idx="30">
                  <c:v>639</c:v>
                </c:pt>
                <c:pt idx="31">
                  <c:v>98</c:v>
                </c:pt>
                <c:pt idx="32">
                  <c:v>92</c:v>
                </c:pt>
                <c:pt idx="33">
                  <c:v>652</c:v>
                </c:pt>
                <c:pt idx="34">
                  <c:v>810</c:v>
                </c:pt>
                <c:pt idx="35">
                  <c:v>795</c:v>
                </c:pt>
                <c:pt idx="36">
                  <c:v>962</c:v>
                </c:pt>
                <c:pt idx="37">
                  <c:v>871</c:v>
                </c:pt>
                <c:pt idx="38">
                  <c:v>127</c:v>
                </c:pt>
                <c:pt idx="39">
                  <c:v>87</c:v>
                </c:pt>
                <c:pt idx="40">
                  <c:v>786</c:v>
                </c:pt>
                <c:pt idx="41">
                  <c:v>688</c:v>
                </c:pt>
                <c:pt idx="42">
                  <c:v>759</c:v>
                </c:pt>
                <c:pt idx="43">
                  <c:v>793</c:v>
                </c:pt>
                <c:pt idx="44">
                  <c:v>629</c:v>
                </c:pt>
                <c:pt idx="45">
                  <c:v>90</c:v>
                </c:pt>
                <c:pt idx="46">
                  <c:v>24</c:v>
                </c:pt>
                <c:pt idx="47">
                  <c:v>398</c:v>
                </c:pt>
                <c:pt idx="48">
                  <c:v>364</c:v>
                </c:pt>
                <c:pt idx="49">
                  <c:v>361</c:v>
                </c:pt>
                <c:pt idx="50">
                  <c:v>368</c:v>
                </c:pt>
                <c:pt idx="51">
                  <c:v>261</c:v>
                </c:pt>
                <c:pt idx="52">
                  <c:v>15</c:v>
                </c:pt>
                <c:pt idx="53">
                  <c:v>12</c:v>
                </c:pt>
                <c:pt idx="54">
                  <c:v>225</c:v>
                </c:pt>
                <c:pt idx="55">
                  <c:v>294</c:v>
                </c:pt>
                <c:pt idx="56">
                  <c:v>206</c:v>
                </c:pt>
                <c:pt idx="57">
                  <c:v>202</c:v>
                </c:pt>
                <c:pt idx="58">
                  <c:v>207</c:v>
                </c:pt>
                <c:pt idx="59">
                  <c:v>11</c:v>
                </c:pt>
                <c:pt idx="60">
                  <c:v>11</c:v>
                </c:pt>
                <c:pt idx="61">
                  <c:v>104</c:v>
                </c:pt>
                <c:pt idx="62">
                  <c:v>118</c:v>
                </c:pt>
                <c:pt idx="63">
                  <c:v>179</c:v>
                </c:pt>
                <c:pt idx="64">
                  <c:v>150</c:v>
                </c:pt>
                <c:pt idx="65">
                  <c:v>222</c:v>
                </c:pt>
                <c:pt idx="66">
                  <c:v>7</c:v>
                </c:pt>
                <c:pt idx="67">
                  <c:v>9</c:v>
                </c:pt>
                <c:pt idx="68">
                  <c:v>142</c:v>
                </c:pt>
                <c:pt idx="69">
                  <c:v>204</c:v>
                </c:pt>
                <c:pt idx="70">
                  <c:v>248</c:v>
                </c:pt>
                <c:pt idx="71">
                  <c:v>387</c:v>
                </c:pt>
                <c:pt idx="72">
                  <c:v>367</c:v>
                </c:pt>
                <c:pt idx="73">
                  <c:v>45</c:v>
                </c:pt>
                <c:pt idx="74">
                  <c:v>70</c:v>
                </c:pt>
                <c:pt idx="75">
                  <c:v>293</c:v>
                </c:pt>
                <c:pt idx="76">
                  <c:v>319</c:v>
                </c:pt>
                <c:pt idx="77">
                  <c:v>394</c:v>
                </c:pt>
                <c:pt idx="78">
                  <c:v>415</c:v>
                </c:pt>
                <c:pt idx="79">
                  <c:v>479</c:v>
                </c:pt>
                <c:pt idx="80">
                  <c:v>44</c:v>
                </c:pt>
                <c:pt idx="81">
                  <c:v>34</c:v>
                </c:pt>
                <c:pt idx="82">
                  <c:v>793</c:v>
                </c:pt>
                <c:pt idx="83">
                  <c:v>900</c:v>
                </c:pt>
                <c:pt idx="84">
                  <c:v>1059</c:v>
                </c:pt>
                <c:pt idx="85">
                  <c:v>1123</c:v>
                </c:pt>
                <c:pt idx="86">
                  <c:v>947</c:v>
                </c:pt>
                <c:pt idx="87">
                  <c:v>207</c:v>
                </c:pt>
                <c:pt idx="88">
                  <c:v>198</c:v>
                </c:pt>
                <c:pt idx="89">
                  <c:v>1302</c:v>
                </c:pt>
                <c:pt idx="90">
                  <c:v>1406</c:v>
                </c:pt>
                <c:pt idx="91">
                  <c:v>1277</c:v>
                </c:pt>
                <c:pt idx="92">
                  <c:v>1567</c:v>
                </c:pt>
                <c:pt idx="93">
                  <c:v>459</c:v>
                </c:pt>
                <c:pt idx="94">
                  <c:v>515</c:v>
                </c:pt>
                <c:pt idx="95">
                  <c:v>325</c:v>
                </c:pt>
                <c:pt idx="96">
                  <c:v>329</c:v>
                </c:pt>
                <c:pt idx="97">
                  <c:v>1403</c:v>
                </c:pt>
                <c:pt idx="98">
                  <c:v>982</c:v>
                </c:pt>
                <c:pt idx="99">
                  <c:v>970</c:v>
                </c:pt>
                <c:pt idx="100">
                  <c:v>1158</c:v>
                </c:pt>
                <c:pt idx="101">
                  <c:v>362</c:v>
                </c:pt>
                <c:pt idx="102">
                  <c:v>217</c:v>
                </c:pt>
                <c:pt idx="103">
                  <c:v>734</c:v>
                </c:pt>
                <c:pt idx="104">
                  <c:v>776</c:v>
                </c:pt>
                <c:pt idx="105">
                  <c:v>836</c:v>
                </c:pt>
                <c:pt idx="106">
                  <c:v>731</c:v>
                </c:pt>
                <c:pt idx="107">
                  <c:v>1145</c:v>
                </c:pt>
                <c:pt idx="108">
                  <c:v>298</c:v>
                </c:pt>
                <c:pt idx="109">
                  <c:v>169</c:v>
                </c:pt>
                <c:pt idx="110">
                  <c:v>605</c:v>
                </c:pt>
                <c:pt idx="111">
                  <c:v>573</c:v>
                </c:pt>
                <c:pt idx="112">
                  <c:v>633</c:v>
                </c:pt>
                <c:pt idx="113">
                  <c:v>896</c:v>
                </c:pt>
                <c:pt idx="114">
                  <c:v>661</c:v>
                </c:pt>
                <c:pt idx="115">
                  <c:v>163</c:v>
                </c:pt>
                <c:pt idx="116">
                  <c:v>155</c:v>
                </c:pt>
                <c:pt idx="117">
                  <c:v>501</c:v>
                </c:pt>
                <c:pt idx="118">
                  <c:v>735</c:v>
                </c:pt>
                <c:pt idx="119">
                  <c:v>931</c:v>
                </c:pt>
                <c:pt idx="120">
                  <c:v>1016</c:v>
                </c:pt>
                <c:pt idx="121">
                  <c:v>717</c:v>
                </c:pt>
                <c:pt idx="122">
                  <c:v>186</c:v>
                </c:pt>
                <c:pt idx="123">
                  <c:v>123</c:v>
                </c:pt>
                <c:pt idx="124">
                  <c:v>415</c:v>
                </c:pt>
                <c:pt idx="125">
                  <c:v>636</c:v>
                </c:pt>
                <c:pt idx="126">
                  <c:v>749</c:v>
                </c:pt>
                <c:pt idx="127">
                  <c:v>836</c:v>
                </c:pt>
                <c:pt idx="128">
                  <c:v>818</c:v>
                </c:pt>
                <c:pt idx="129">
                  <c:v>174</c:v>
                </c:pt>
                <c:pt idx="130">
                  <c:v>91</c:v>
                </c:pt>
                <c:pt idx="131">
                  <c:v>599</c:v>
                </c:pt>
                <c:pt idx="132">
                  <c:v>633</c:v>
                </c:pt>
                <c:pt idx="133">
                  <c:v>589</c:v>
                </c:pt>
                <c:pt idx="134">
                  <c:v>617</c:v>
                </c:pt>
                <c:pt idx="135">
                  <c:v>538</c:v>
                </c:pt>
                <c:pt idx="136">
                  <c:v>131</c:v>
                </c:pt>
                <c:pt idx="137">
                  <c:v>67</c:v>
                </c:pt>
                <c:pt idx="138">
                  <c:v>486</c:v>
                </c:pt>
                <c:pt idx="139">
                  <c:v>758</c:v>
                </c:pt>
                <c:pt idx="140">
                  <c:v>1051</c:v>
                </c:pt>
                <c:pt idx="141">
                  <c:v>1776</c:v>
                </c:pt>
                <c:pt idx="142">
                  <c:v>1856</c:v>
                </c:pt>
                <c:pt idx="143">
                  <c:v>688</c:v>
                </c:pt>
                <c:pt idx="144">
                  <c:v>501</c:v>
                </c:pt>
                <c:pt idx="145">
                  <c:v>2434</c:v>
                </c:pt>
                <c:pt idx="146">
                  <c:v>2999</c:v>
                </c:pt>
                <c:pt idx="147">
                  <c:v>2802</c:v>
                </c:pt>
                <c:pt idx="148">
                  <c:v>3759</c:v>
                </c:pt>
                <c:pt idx="149">
                  <c:v>3781</c:v>
                </c:pt>
                <c:pt idx="150">
                  <c:v>1047</c:v>
                </c:pt>
                <c:pt idx="151">
                  <c:v>819</c:v>
                </c:pt>
                <c:pt idx="152">
                  <c:v>3246</c:v>
                </c:pt>
                <c:pt idx="153">
                  <c:v>3376</c:v>
                </c:pt>
                <c:pt idx="154">
                  <c:v>3537</c:v>
                </c:pt>
                <c:pt idx="155">
                  <c:v>3780</c:v>
                </c:pt>
                <c:pt idx="156">
                  <c:v>3887</c:v>
                </c:pt>
                <c:pt idx="157">
                  <c:v>1767</c:v>
                </c:pt>
                <c:pt idx="158">
                  <c:v>2708</c:v>
                </c:pt>
                <c:pt idx="159">
                  <c:v>7935</c:v>
                </c:pt>
                <c:pt idx="160">
                  <c:v>11060</c:v>
                </c:pt>
                <c:pt idx="161">
                  <c:v>11322</c:v>
                </c:pt>
                <c:pt idx="162">
                  <c:v>20752</c:v>
                </c:pt>
                <c:pt idx="163">
                  <c:v>20573</c:v>
                </c:pt>
                <c:pt idx="164">
                  <c:v>6975</c:v>
                </c:pt>
                <c:pt idx="165">
                  <c:v>5925</c:v>
                </c:pt>
                <c:pt idx="166">
                  <c:v>20931</c:v>
                </c:pt>
                <c:pt idx="167">
                  <c:v>16689</c:v>
                </c:pt>
                <c:pt idx="168">
                  <c:v>18463</c:v>
                </c:pt>
                <c:pt idx="169">
                  <c:v>16446</c:v>
                </c:pt>
                <c:pt idx="170">
                  <c:v>15981</c:v>
                </c:pt>
                <c:pt idx="171">
                  <c:v>4836</c:v>
                </c:pt>
                <c:pt idx="172">
                  <c:v>4088</c:v>
                </c:pt>
                <c:pt idx="173">
                  <c:v>10734</c:v>
                </c:pt>
                <c:pt idx="174">
                  <c:v>10412</c:v>
                </c:pt>
                <c:pt idx="175">
                  <c:v>9068</c:v>
                </c:pt>
                <c:pt idx="176">
                  <c:v>8448</c:v>
                </c:pt>
                <c:pt idx="177">
                  <c:v>7639</c:v>
                </c:pt>
                <c:pt idx="178">
                  <c:v>2746</c:v>
                </c:pt>
                <c:pt idx="179">
                  <c:v>2148</c:v>
                </c:pt>
                <c:pt idx="180">
                  <c:v>5071</c:v>
                </c:pt>
                <c:pt idx="181">
                  <c:v>5320</c:v>
                </c:pt>
                <c:pt idx="182">
                  <c:v>4955</c:v>
                </c:pt>
                <c:pt idx="183">
                  <c:v>4725</c:v>
                </c:pt>
                <c:pt idx="184">
                  <c:v>3806</c:v>
                </c:pt>
                <c:pt idx="185">
                  <c:v>2086</c:v>
                </c:pt>
                <c:pt idx="186">
                  <c:v>1484</c:v>
                </c:pt>
                <c:pt idx="187">
                  <c:v>2615</c:v>
                </c:pt>
                <c:pt idx="188">
                  <c:v>2906</c:v>
                </c:pt>
                <c:pt idx="189">
                  <c:v>3919</c:v>
                </c:pt>
                <c:pt idx="190">
                  <c:v>3612</c:v>
                </c:pt>
                <c:pt idx="191">
                  <c:v>3379</c:v>
                </c:pt>
                <c:pt idx="192">
                  <c:v>1365</c:v>
                </c:pt>
                <c:pt idx="193">
                  <c:v>958</c:v>
                </c:pt>
                <c:pt idx="194">
                  <c:v>2658</c:v>
                </c:pt>
                <c:pt idx="195">
                  <c:v>2989</c:v>
                </c:pt>
                <c:pt idx="196">
                  <c:v>3238</c:v>
                </c:pt>
                <c:pt idx="197">
                  <c:v>3096</c:v>
                </c:pt>
                <c:pt idx="198">
                  <c:v>2782</c:v>
                </c:pt>
                <c:pt idx="199">
                  <c:v>1128</c:v>
                </c:pt>
                <c:pt idx="200">
                  <c:v>754</c:v>
                </c:pt>
                <c:pt idx="201">
                  <c:v>2406</c:v>
                </c:pt>
                <c:pt idx="202">
                  <c:v>2666</c:v>
                </c:pt>
                <c:pt idx="203">
                  <c:v>2189</c:v>
                </c:pt>
                <c:pt idx="204">
                  <c:v>2386</c:v>
                </c:pt>
                <c:pt idx="205">
                  <c:v>2516</c:v>
                </c:pt>
                <c:pt idx="206">
                  <c:v>1673</c:v>
                </c:pt>
                <c:pt idx="207">
                  <c:v>1606</c:v>
                </c:pt>
                <c:pt idx="208">
                  <c:v>2629</c:v>
                </c:pt>
                <c:pt idx="209">
                  <c:v>2990</c:v>
                </c:pt>
                <c:pt idx="210">
                  <c:v>2936</c:v>
                </c:pt>
                <c:pt idx="211">
                  <c:v>2904</c:v>
                </c:pt>
                <c:pt idx="212">
                  <c:v>2347</c:v>
                </c:pt>
                <c:pt idx="213">
                  <c:v>1622</c:v>
                </c:pt>
                <c:pt idx="214">
                  <c:v>3580</c:v>
                </c:pt>
                <c:pt idx="215">
                  <c:v>4155</c:v>
                </c:pt>
                <c:pt idx="216">
                  <c:v>4332</c:v>
                </c:pt>
                <c:pt idx="217">
                  <c:v>2406</c:v>
                </c:pt>
                <c:pt idx="218">
                  <c:v>2478</c:v>
                </c:pt>
                <c:pt idx="219">
                  <c:v>2062</c:v>
                </c:pt>
                <c:pt idx="220">
                  <c:v>1410</c:v>
                </c:pt>
                <c:pt idx="221">
                  <c:v>1406</c:v>
                </c:pt>
                <c:pt idx="222">
                  <c:v>2044</c:v>
                </c:pt>
                <c:pt idx="223">
                  <c:v>2201</c:v>
                </c:pt>
                <c:pt idx="224">
                  <c:v>2084</c:v>
                </c:pt>
                <c:pt idx="225">
                  <c:v>2586</c:v>
                </c:pt>
                <c:pt idx="226">
                  <c:v>2333</c:v>
                </c:pt>
                <c:pt idx="227">
                  <c:v>2034</c:v>
                </c:pt>
                <c:pt idx="228">
                  <c:v>1989</c:v>
                </c:pt>
                <c:pt idx="229">
                  <c:v>2265</c:v>
                </c:pt>
                <c:pt idx="230">
                  <c:v>2301</c:v>
                </c:pt>
                <c:pt idx="231">
                  <c:v>2251</c:v>
                </c:pt>
                <c:pt idx="232">
                  <c:v>2194</c:v>
                </c:pt>
                <c:pt idx="233">
                  <c:v>2125</c:v>
                </c:pt>
                <c:pt idx="234">
                  <c:v>1981</c:v>
                </c:pt>
                <c:pt idx="235">
                  <c:v>1983</c:v>
                </c:pt>
                <c:pt idx="236">
                  <c:v>2057</c:v>
                </c:pt>
                <c:pt idx="237">
                  <c:v>2101</c:v>
                </c:pt>
                <c:pt idx="238">
                  <c:v>2064</c:v>
                </c:pt>
                <c:pt idx="239">
                  <c:v>2075</c:v>
                </c:pt>
                <c:pt idx="240">
                  <c:v>2036</c:v>
                </c:pt>
                <c:pt idx="241">
                  <c:v>1990</c:v>
                </c:pt>
                <c:pt idx="242">
                  <c:v>1980</c:v>
                </c:pt>
                <c:pt idx="243">
                  <c:v>2016</c:v>
                </c:pt>
                <c:pt idx="244">
                  <c:v>20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3D85-47C2-92CB-D22E4A4C65D5}"/>
            </c:ext>
          </c:extLst>
        </c:ser>
        <c:ser>
          <c:idx val="10"/>
          <c:order val="10"/>
          <c:tx>
            <c:strRef>
              <c:f>List1!$L$1</c:f>
              <c:strCache>
                <c:ptCount val="1"/>
                <c:pt idx="0">
                  <c:v>14 65-69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L$5:$L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7</c:v>
                </c:pt>
                <c:pt idx="19">
                  <c:v>120</c:v>
                </c:pt>
                <c:pt idx="20">
                  <c:v>160</c:v>
                </c:pt>
                <c:pt idx="21">
                  <c:v>136</c:v>
                </c:pt>
                <c:pt idx="22">
                  <c:v>80</c:v>
                </c:pt>
                <c:pt idx="23">
                  <c:v>41</c:v>
                </c:pt>
                <c:pt idx="24">
                  <c:v>38</c:v>
                </c:pt>
                <c:pt idx="25">
                  <c:v>44</c:v>
                </c:pt>
                <c:pt idx="26">
                  <c:v>163</c:v>
                </c:pt>
                <c:pt idx="27">
                  <c:v>180</c:v>
                </c:pt>
                <c:pt idx="28">
                  <c:v>190</c:v>
                </c:pt>
                <c:pt idx="29">
                  <c:v>251</c:v>
                </c:pt>
                <c:pt idx="30">
                  <c:v>355</c:v>
                </c:pt>
                <c:pt idx="31">
                  <c:v>91</c:v>
                </c:pt>
                <c:pt idx="32">
                  <c:v>101</c:v>
                </c:pt>
                <c:pt idx="33">
                  <c:v>411</c:v>
                </c:pt>
                <c:pt idx="34">
                  <c:v>539</c:v>
                </c:pt>
                <c:pt idx="35">
                  <c:v>616</c:v>
                </c:pt>
                <c:pt idx="36">
                  <c:v>734</c:v>
                </c:pt>
                <c:pt idx="37">
                  <c:v>622</c:v>
                </c:pt>
                <c:pt idx="38">
                  <c:v>107</c:v>
                </c:pt>
                <c:pt idx="39">
                  <c:v>83</c:v>
                </c:pt>
                <c:pt idx="40">
                  <c:v>553</c:v>
                </c:pt>
                <c:pt idx="41">
                  <c:v>566</c:v>
                </c:pt>
                <c:pt idx="42">
                  <c:v>572</c:v>
                </c:pt>
                <c:pt idx="43">
                  <c:v>659</c:v>
                </c:pt>
                <c:pt idx="44">
                  <c:v>536</c:v>
                </c:pt>
                <c:pt idx="45">
                  <c:v>92</c:v>
                </c:pt>
                <c:pt idx="46">
                  <c:v>32</c:v>
                </c:pt>
                <c:pt idx="47">
                  <c:v>309</c:v>
                </c:pt>
                <c:pt idx="48">
                  <c:v>347</c:v>
                </c:pt>
                <c:pt idx="49">
                  <c:v>299</c:v>
                </c:pt>
                <c:pt idx="50">
                  <c:v>336</c:v>
                </c:pt>
                <c:pt idx="51">
                  <c:v>243</c:v>
                </c:pt>
                <c:pt idx="52">
                  <c:v>15</c:v>
                </c:pt>
                <c:pt idx="53">
                  <c:v>11</c:v>
                </c:pt>
                <c:pt idx="54">
                  <c:v>164</c:v>
                </c:pt>
                <c:pt idx="55">
                  <c:v>254</c:v>
                </c:pt>
                <c:pt idx="56">
                  <c:v>185</c:v>
                </c:pt>
                <c:pt idx="57">
                  <c:v>157</c:v>
                </c:pt>
                <c:pt idx="58">
                  <c:v>143</c:v>
                </c:pt>
                <c:pt idx="59">
                  <c:v>12</c:v>
                </c:pt>
                <c:pt idx="60">
                  <c:v>6</c:v>
                </c:pt>
                <c:pt idx="61">
                  <c:v>94</c:v>
                </c:pt>
                <c:pt idx="62">
                  <c:v>119</c:v>
                </c:pt>
                <c:pt idx="63">
                  <c:v>136</c:v>
                </c:pt>
                <c:pt idx="64">
                  <c:v>130</c:v>
                </c:pt>
                <c:pt idx="65">
                  <c:v>198</c:v>
                </c:pt>
                <c:pt idx="66">
                  <c:v>4</c:v>
                </c:pt>
                <c:pt idx="67">
                  <c:v>11</c:v>
                </c:pt>
                <c:pt idx="68">
                  <c:v>121</c:v>
                </c:pt>
                <c:pt idx="69">
                  <c:v>164</c:v>
                </c:pt>
                <c:pt idx="70">
                  <c:v>208</c:v>
                </c:pt>
                <c:pt idx="71">
                  <c:v>381</c:v>
                </c:pt>
                <c:pt idx="72">
                  <c:v>357</c:v>
                </c:pt>
                <c:pt idx="73">
                  <c:v>48</c:v>
                </c:pt>
                <c:pt idx="74">
                  <c:v>54</c:v>
                </c:pt>
                <c:pt idx="75">
                  <c:v>300</c:v>
                </c:pt>
                <c:pt idx="76">
                  <c:v>331</c:v>
                </c:pt>
                <c:pt idx="77">
                  <c:v>352</c:v>
                </c:pt>
                <c:pt idx="78">
                  <c:v>360</c:v>
                </c:pt>
                <c:pt idx="79">
                  <c:v>480</c:v>
                </c:pt>
                <c:pt idx="80">
                  <c:v>43</c:v>
                </c:pt>
                <c:pt idx="81">
                  <c:v>35</c:v>
                </c:pt>
                <c:pt idx="82">
                  <c:v>575</c:v>
                </c:pt>
                <c:pt idx="83">
                  <c:v>592</c:v>
                </c:pt>
                <c:pt idx="84">
                  <c:v>820</c:v>
                </c:pt>
                <c:pt idx="85">
                  <c:v>809</c:v>
                </c:pt>
                <c:pt idx="86">
                  <c:v>697</c:v>
                </c:pt>
                <c:pt idx="87">
                  <c:v>151</c:v>
                </c:pt>
                <c:pt idx="88">
                  <c:v>135</c:v>
                </c:pt>
                <c:pt idx="89">
                  <c:v>778</c:v>
                </c:pt>
                <c:pt idx="90">
                  <c:v>874</c:v>
                </c:pt>
                <c:pt idx="91">
                  <c:v>879</c:v>
                </c:pt>
                <c:pt idx="92">
                  <c:v>1095</c:v>
                </c:pt>
                <c:pt idx="93">
                  <c:v>309</c:v>
                </c:pt>
                <c:pt idx="94">
                  <c:v>304</c:v>
                </c:pt>
                <c:pt idx="95">
                  <c:v>232</c:v>
                </c:pt>
                <c:pt idx="96">
                  <c:v>193</c:v>
                </c:pt>
                <c:pt idx="97">
                  <c:v>863</c:v>
                </c:pt>
                <c:pt idx="98">
                  <c:v>592</c:v>
                </c:pt>
                <c:pt idx="99">
                  <c:v>722</c:v>
                </c:pt>
                <c:pt idx="100">
                  <c:v>886</c:v>
                </c:pt>
                <c:pt idx="101">
                  <c:v>265</c:v>
                </c:pt>
                <c:pt idx="102">
                  <c:v>193</c:v>
                </c:pt>
                <c:pt idx="103">
                  <c:v>607</c:v>
                </c:pt>
                <c:pt idx="104">
                  <c:v>668</c:v>
                </c:pt>
                <c:pt idx="105">
                  <c:v>739</c:v>
                </c:pt>
                <c:pt idx="106">
                  <c:v>761</c:v>
                </c:pt>
                <c:pt idx="107">
                  <c:v>1158</c:v>
                </c:pt>
                <c:pt idx="108">
                  <c:v>359</c:v>
                </c:pt>
                <c:pt idx="109">
                  <c:v>259</c:v>
                </c:pt>
                <c:pt idx="110">
                  <c:v>901</c:v>
                </c:pt>
                <c:pt idx="111">
                  <c:v>873</c:v>
                </c:pt>
                <c:pt idx="112">
                  <c:v>1104</c:v>
                </c:pt>
                <c:pt idx="113">
                  <c:v>1129</c:v>
                </c:pt>
                <c:pt idx="114">
                  <c:v>810</c:v>
                </c:pt>
                <c:pt idx="115">
                  <c:v>239</c:v>
                </c:pt>
                <c:pt idx="116">
                  <c:v>233</c:v>
                </c:pt>
                <c:pt idx="117">
                  <c:v>715</c:v>
                </c:pt>
                <c:pt idx="118">
                  <c:v>953</c:v>
                </c:pt>
                <c:pt idx="119">
                  <c:v>1253</c:v>
                </c:pt>
                <c:pt idx="120">
                  <c:v>1184</c:v>
                </c:pt>
                <c:pt idx="121">
                  <c:v>851</c:v>
                </c:pt>
                <c:pt idx="122">
                  <c:v>193</c:v>
                </c:pt>
                <c:pt idx="123">
                  <c:v>131</c:v>
                </c:pt>
                <c:pt idx="124">
                  <c:v>550</c:v>
                </c:pt>
                <c:pt idx="125">
                  <c:v>974</c:v>
                </c:pt>
                <c:pt idx="126">
                  <c:v>1209</c:v>
                </c:pt>
                <c:pt idx="127">
                  <c:v>1430</c:v>
                </c:pt>
                <c:pt idx="128">
                  <c:v>1207</c:v>
                </c:pt>
                <c:pt idx="129">
                  <c:v>296</c:v>
                </c:pt>
                <c:pt idx="130">
                  <c:v>119</c:v>
                </c:pt>
                <c:pt idx="131">
                  <c:v>857</c:v>
                </c:pt>
                <c:pt idx="132">
                  <c:v>1048</c:v>
                </c:pt>
                <c:pt idx="133">
                  <c:v>999</c:v>
                </c:pt>
                <c:pt idx="134">
                  <c:v>968</c:v>
                </c:pt>
                <c:pt idx="135">
                  <c:v>857</c:v>
                </c:pt>
                <c:pt idx="136">
                  <c:v>182</c:v>
                </c:pt>
                <c:pt idx="137">
                  <c:v>115</c:v>
                </c:pt>
                <c:pt idx="138">
                  <c:v>832</c:v>
                </c:pt>
                <c:pt idx="139">
                  <c:v>1171</c:v>
                </c:pt>
                <c:pt idx="140">
                  <c:v>1546</c:v>
                </c:pt>
                <c:pt idx="141">
                  <c:v>2754</c:v>
                </c:pt>
                <c:pt idx="142">
                  <c:v>2575</c:v>
                </c:pt>
                <c:pt idx="143">
                  <c:v>1124</c:v>
                </c:pt>
                <c:pt idx="144">
                  <c:v>930</c:v>
                </c:pt>
                <c:pt idx="145">
                  <c:v>3916</c:v>
                </c:pt>
                <c:pt idx="146">
                  <c:v>3757</c:v>
                </c:pt>
                <c:pt idx="147">
                  <c:v>4157</c:v>
                </c:pt>
                <c:pt idx="148">
                  <c:v>7702</c:v>
                </c:pt>
                <c:pt idx="149">
                  <c:v>6895</c:v>
                </c:pt>
                <c:pt idx="150">
                  <c:v>3929</c:v>
                </c:pt>
                <c:pt idx="151">
                  <c:v>2493</c:v>
                </c:pt>
                <c:pt idx="152">
                  <c:v>13231</c:v>
                </c:pt>
                <c:pt idx="153">
                  <c:v>13582</c:v>
                </c:pt>
                <c:pt idx="154">
                  <c:v>19116</c:v>
                </c:pt>
                <c:pt idx="155">
                  <c:v>22567</c:v>
                </c:pt>
                <c:pt idx="156">
                  <c:v>17995</c:v>
                </c:pt>
                <c:pt idx="157">
                  <c:v>7810</c:v>
                </c:pt>
                <c:pt idx="158">
                  <c:v>5883</c:v>
                </c:pt>
                <c:pt idx="159">
                  <c:v>21736</c:v>
                </c:pt>
                <c:pt idx="160">
                  <c:v>18493</c:v>
                </c:pt>
                <c:pt idx="161">
                  <c:v>18200</c:v>
                </c:pt>
                <c:pt idx="162">
                  <c:v>18526</c:v>
                </c:pt>
                <c:pt idx="163">
                  <c:v>14610</c:v>
                </c:pt>
                <c:pt idx="164">
                  <c:v>3823</c:v>
                </c:pt>
                <c:pt idx="165">
                  <c:v>4728</c:v>
                </c:pt>
                <c:pt idx="166">
                  <c:v>12103</c:v>
                </c:pt>
                <c:pt idx="167">
                  <c:v>11257</c:v>
                </c:pt>
                <c:pt idx="168">
                  <c:v>10855</c:v>
                </c:pt>
                <c:pt idx="169">
                  <c:v>10749</c:v>
                </c:pt>
                <c:pt idx="170">
                  <c:v>8609</c:v>
                </c:pt>
                <c:pt idx="171">
                  <c:v>3424</c:v>
                </c:pt>
                <c:pt idx="172">
                  <c:v>2621</c:v>
                </c:pt>
                <c:pt idx="173">
                  <c:v>7453</c:v>
                </c:pt>
                <c:pt idx="174">
                  <c:v>8218</c:v>
                </c:pt>
                <c:pt idx="175">
                  <c:v>7717</c:v>
                </c:pt>
                <c:pt idx="176">
                  <c:v>7257</c:v>
                </c:pt>
                <c:pt idx="177">
                  <c:v>5265</c:v>
                </c:pt>
                <c:pt idx="178">
                  <c:v>2373</c:v>
                </c:pt>
                <c:pt idx="179">
                  <c:v>1857</c:v>
                </c:pt>
                <c:pt idx="180">
                  <c:v>5015</c:v>
                </c:pt>
                <c:pt idx="181">
                  <c:v>5294</c:v>
                </c:pt>
                <c:pt idx="182">
                  <c:v>5198</c:v>
                </c:pt>
                <c:pt idx="183">
                  <c:v>4798</c:v>
                </c:pt>
                <c:pt idx="184">
                  <c:v>3082</c:v>
                </c:pt>
                <c:pt idx="185">
                  <c:v>1607</c:v>
                </c:pt>
                <c:pt idx="186">
                  <c:v>1145</c:v>
                </c:pt>
                <c:pt idx="187">
                  <c:v>2362</c:v>
                </c:pt>
                <c:pt idx="188">
                  <c:v>2947</c:v>
                </c:pt>
                <c:pt idx="189">
                  <c:v>4152</c:v>
                </c:pt>
                <c:pt idx="190">
                  <c:v>4454</c:v>
                </c:pt>
                <c:pt idx="191">
                  <c:v>3871</c:v>
                </c:pt>
                <c:pt idx="192">
                  <c:v>1553</c:v>
                </c:pt>
                <c:pt idx="193">
                  <c:v>865</c:v>
                </c:pt>
                <c:pt idx="194">
                  <c:v>3534</c:v>
                </c:pt>
                <c:pt idx="195">
                  <c:v>3983</c:v>
                </c:pt>
                <c:pt idx="196">
                  <c:v>4904</c:v>
                </c:pt>
                <c:pt idx="197">
                  <c:v>4594</c:v>
                </c:pt>
                <c:pt idx="198">
                  <c:v>3471</c:v>
                </c:pt>
                <c:pt idx="199">
                  <c:v>949</c:v>
                </c:pt>
                <c:pt idx="200">
                  <c:v>512</c:v>
                </c:pt>
                <c:pt idx="201">
                  <c:v>3528</c:v>
                </c:pt>
                <c:pt idx="202">
                  <c:v>3925</c:v>
                </c:pt>
                <c:pt idx="203">
                  <c:v>3695</c:v>
                </c:pt>
                <c:pt idx="204">
                  <c:v>3767</c:v>
                </c:pt>
                <c:pt idx="205">
                  <c:v>3102</c:v>
                </c:pt>
                <c:pt idx="206">
                  <c:v>1484</c:v>
                </c:pt>
                <c:pt idx="207">
                  <c:v>1291</c:v>
                </c:pt>
                <c:pt idx="208">
                  <c:v>2905</c:v>
                </c:pt>
                <c:pt idx="209">
                  <c:v>3192</c:v>
                </c:pt>
                <c:pt idx="210">
                  <c:v>3053</c:v>
                </c:pt>
                <c:pt idx="211">
                  <c:v>2909</c:v>
                </c:pt>
                <c:pt idx="212">
                  <c:v>2135</c:v>
                </c:pt>
                <c:pt idx="213">
                  <c:v>1292</c:v>
                </c:pt>
                <c:pt idx="214">
                  <c:v>1282</c:v>
                </c:pt>
                <c:pt idx="215">
                  <c:v>1989</c:v>
                </c:pt>
                <c:pt idx="216">
                  <c:v>2187</c:v>
                </c:pt>
                <c:pt idx="217">
                  <c:v>2495</c:v>
                </c:pt>
                <c:pt idx="218">
                  <c:v>2472</c:v>
                </c:pt>
                <c:pt idx="219">
                  <c:v>2091</c:v>
                </c:pt>
                <c:pt idx="220">
                  <c:v>1287</c:v>
                </c:pt>
                <c:pt idx="221">
                  <c:v>1291</c:v>
                </c:pt>
                <c:pt idx="222">
                  <c:v>2093</c:v>
                </c:pt>
                <c:pt idx="223">
                  <c:v>2211</c:v>
                </c:pt>
                <c:pt idx="224">
                  <c:v>2088</c:v>
                </c:pt>
                <c:pt idx="225">
                  <c:v>2426</c:v>
                </c:pt>
                <c:pt idx="226">
                  <c:v>2247</c:v>
                </c:pt>
                <c:pt idx="227">
                  <c:v>1857</c:v>
                </c:pt>
                <c:pt idx="228">
                  <c:v>1795</c:v>
                </c:pt>
                <c:pt idx="229">
                  <c:v>2121</c:v>
                </c:pt>
                <c:pt idx="230">
                  <c:v>2161</c:v>
                </c:pt>
                <c:pt idx="231">
                  <c:v>2061</c:v>
                </c:pt>
                <c:pt idx="232">
                  <c:v>2054</c:v>
                </c:pt>
                <c:pt idx="233">
                  <c:v>1942</c:v>
                </c:pt>
                <c:pt idx="234">
                  <c:v>1789</c:v>
                </c:pt>
                <c:pt idx="235">
                  <c:v>1790</c:v>
                </c:pt>
                <c:pt idx="236">
                  <c:v>1863</c:v>
                </c:pt>
                <c:pt idx="237">
                  <c:v>115</c:v>
                </c:pt>
                <c:pt idx="238">
                  <c:v>117</c:v>
                </c:pt>
                <c:pt idx="239">
                  <c:v>134</c:v>
                </c:pt>
                <c:pt idx="240">
                  <c:v>41</c:v>
                </c:pt>
                <c:pt idx="241">
                  <c:v>13</c:v>
                </c:pt>
                <c:pt idx="242">
                  <c:v>0</c:v>
                </c:pt>
                <c:pt idx="243">
                  <c:v>30</c:v>
                </c:pt>
                <c:pt idx="244">
                  <c:v>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D85-47C2-92CB-D22E4A4C65D5}"/>
            </c:ext>
          </c:extLst>
        </c:ser>
        <c:ser>
          <c:idx val="11"/>
          <c:order val="11"/>
          <c:tx>
            <c:strRef>
              <c:f>List1!$M$1</c:f>
              <c:strCache>
                <c:ptCount val="1"/>
                <c:pt idx="0">
                  <c:v>15 70-74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M$5:$M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3</c:v>
                </c:pt>
                <c:pt idx="19">
                  <c:v>55</c:v>
                </c:pt>
                <c:pt idx="20">
                  <c:v>92</c:v>
                </c:pt>
                <c:pt idx="21">
                  <c:v>85</c:v>
                </c:pt>
                <c:pt idx="22">
                  <c:v>59</c:v>
                </c:pt>
                <c:pt idx="23">
                  <c:v>24</c:v>
                </c:pt>
                <c:pt idx="24">
                  <c:v>17</c:v>
                </c:pt>
                <c:pt idx="25">
                  <c:v>19</c:v>
                </c:pt>
                <c:pt idx="26">
                  <c:v>59</c:v>
                </c:pt>
                <c:pt idx="27">
                  <c:v>77</c:v>
                </c:pt>
                <c:pt idx="28">
                  <c:v>90</c:v>
                </c:pt>
                <c:pt idx="29">
                  <c:v>166</c:v>
                </c:pt>
                <c:pt idx="30">
                  <c:v>225</c:v>
                </c:pt>
                <c:pt idx="31">
                  <c:v>67</c:v>
                </c:pt>
                <c:pt idx="32">
                  <c:v>69</c:v>
                </c:pt>
                <c:pt idx="33">
                  <c:v>233</c:v>
                </c:pt>
                <c:pt idx="34">
                  <c:v>340</c:v>
                </c:pt>
                <c:pt idx="35">
                  <c:v>535</c:v>
                </c:pt>
                <c:pt idx="36">
                  <c:v>555</c:v>
                </c:pt>
                <c:pt idx="37">
                  <c:v>448</c:v>
                </c:pt>
                <c:pt idx="38">
                  <c:v>79</c:v>
                </c:pt>
                <c:pt idx="39">
                  <c:v>66</c:v>
                </c:pt>
                <c:pt idx="40">
                  <c:v>403</c:v>
                </c:pt>
                <c:pt idx="41">
                  <c:v>446</c:v>
                </c:pt>
                <c:pt idx="42">
                  <c:v>499</c:v>
                </c:pt>
                <c:pt idx="43">
                  <c:v>568</c:v>
                </c:pt>
                <c:pt idx="44">
                  <c:v>448</c:v>
                </c:pt>
                <c:pt idx="45">
                  <c:v>114</c:v>
                </c:pt>
                <c:pt idx="46">
                  <c:v>23</c:v>
                </c:pt>
                <c:pt idx="47">
                  <c:v>266</c:v>
                </c:pt>
                <c:pt idx="48">
                  <c:v>286</c:v>
                </c:pt>
                <c:pt idx="49">
                  <c:v>291</c:v>
                </c:pt>
                <c:pt idx="50">
                  <c:v>269</c:v>
                </c:pt>
                <c:pt idx="51">
                  <c:v>222</c:v>
                </c:pt>
                <c:pt idx="52">
                  <c:v>8</c:v>
                </c:pt>
                <c:pt idx="53">
                  <c:v>9</c:v>
                </c:pt>
                <c:pt idx="54">
                  <c:v>156</c:v>
                </c:pt>
                <c:pt idx="55">
                  <c:v>185</c:v>
                </c:pt>
                <c:pt idx="56">
                  <c:v>174</c:v>
                </c:pt>
                <c:pt idx="57">
                  <c:v>150</c:v>
                </c:pt>
                <c:pt idx="58">
                  <c:v>96</c:v>
                </c:pt>
                <c:pt idx="59">
                  <c:v>10</c:v>
                </c:pt>
                <c:pt idx="60">
                  <c:v>13</c:v>
                </c:pt>
                <c:pt idx="61">
                  <c:v>70</c:v>
                </c:pt>
                <c:pt idx="62">
                  <c:v>112</c:v>
                </c:pt>
                <c:pt idx="63">
                  <c:v>127</c:v>
                </c:pt>
                <c:pt idx="64">
                  <c:v>140</c:v>
                </c:pt>
                <c:pt idx="65">
                  <c:v>203</c:v>
                </c:pt>
                <c:pt idx="66">
                  <c:v>8</c:v>
                </c:pt>
                <c:pt idx="67">
                  <c:v>11</c:v>
                </c:pt>
                <c:pt idx="68">
                  <c:v>149</c:v>
                </c:pt>
                <c:pt idx="69">
                  <c:v>147</c:v>
                </c:pt>
                <c:pt idx="70">
                  <c:v>177</c:v>
                </c:pt>
                <c:pt idx="71">
                  <c:v>291</c:v>
                </c:pt>
                <c:pt idx="72">
                  <c:v>321</c:v>
                </c:pt>
                <c:pt idx="73">
                  <c:v>39</c:v>
                </c:pt>
                <c:pt idx="74">
                  <c:v>41</c:v>
                </c:pt>
                <c:pt idx="75">
                  <c:v>275</c:v>
                </c:pt>
                <c:pt idx="76">
                  <c:v>301</c:v>
                </c:pt>
                <c:pt idx="77">
                  <c:v>347</c:v>
                </c:pt>
                <c:pt idx="78">
                  <c:v>349</c:v>
                </c:pt>
                <c:pt idx="79">
                  <c:v>522</c:v>
                </c:pt>
                <c:pt idx="80">
                  <c:v>38</c:v>
                </c:pt>
                <c:pt idx="81">
                  <c:v>35</c:v>
                </c:pt>
                <c:pt idx="82">
                  <c:v>686</c:v>
                </c:pt>
                <c:pt idx="83">
                  <c:v>879</c:v>
                </c:pt>
                <c:pt idx="84">
                  <c:v>1153</c:v>
                </c:pt>
                <c:pt idx="85">
                  <c:v>1231</c:v>
                </c:pt>
                <c:pt idx="86">
                  <c:v>1463</c:v>
                </c:pt>
                <c:pt idx="87">
                  <c:v>718</c:v>
                </c:pt>
                <c:pt idx="88">
                  <c:v>572</c:v>
                </c:pt>
                <c:pt idx="89">
                  <c:v>2656</c:v>
                </c:pt>
                <c:pt idx="90">
                  <c:v>3059</c:v>
                </c:pt>
                <c:pt idx="91">
                  <c:v>3896</c:v>
                </c:pt>
                <c:pt idx="92">
                  <c:v>4900</c:v>
                </c:pt>
                <c:pt idx="93">
                  <c:v>2698</c:v>
                </c:pt>
                <c:pt idx="94">
                  <c:v>2086</c:v>
                </c:pt>
                <c:pt idx="95">
                  <c:v>1978</c:v>
                </c:pt>
                <c:pt idx="96">
                  <c:v>1679</c:v>
                </c:pt>
                <c:pt idx="97">
                  <c:v>5636</c:v>
                </c:pt>
                <c:pt idx="98">
                  <c:v>4423</c:v>
                </c:pt>
                <c:pt idx="99">
                  <c:v>8935</c:v>
                </c:pt>
                <c:pt idx="100">
                  <c:v>7929</c:v>
                </c:pt>
                <c:pt idx="101">
                  <c:v>4911</c:v>
                </c:pt>
                <c:pt idx="102">
                  <c:v>2642</c:v>
                </c:pt>
                <c:pt idx="103">
                  <c:v>8737</c:v>
                </c:pt>
                <c:pt idx="104">
                  <c:v>8590</c:v>
                </c:pt>
                <c:pt idx="105">
                  <c:v>10480</c:v>
                </c:pt>
                <c:pt idx="106">
                  <c:v>8835</c:v>
                </c:pt>
                <c:pt idx="107">
                  <c:v>6404</c:v>
                </c:pt>
                <c:pt idx="108">
                  <c:v>2489</c:v>
                </c:pt>
                <c:pt idx="109">
                  <c:v>1560</c:v>
                </c:pt>
                <c:pt idx="110">
                  <c:v>4550</c:v>
                </c:pt>
                <c:pt idx="111">
                  <c:v>4940</c:v>
                </c:pt>
                <c:pt idx="112">
                  <c:v>3879</c:v>
                </c:pt>
                <c:pt idx="113">
                  <c:v>4855</c:v>
                </c:pt>
                <c:pt idx="114">
                  <c:v>2957</c:v>
                </c:pt>
                <c:pt idx="115">
                  <c:v>1722</c:v>
                </c:pt>
                <c:pt idx="116">
                  <c:v>1244</c:v>
                </c:pt>
                <c:pt idx="117">
                  <c:v>1897</c:v>
                </c:pt>
                <c:pt idx="118">
                  <c:v>3680</c:v>
                </c:pt>
                <c:pt idx="119">
                  <c:v>3885</c:v>
                </c:pt>
                <c:pt idx="120">
                  <c:v>4568</c:v>
                </c:pt>
                <c:pt idx="121">
                  <c:v>2305</c:v>
                </c:pt>
                <c:pt idx="122">
                  <c:v>1327</c:v>
                </c:pt>
                <c:pt idx="123">
                  <c:v>712</c:v>
                </c:pt>
                <c:pt idx="124">
                  <c:v>1313</c:v>
                </c:pt>
                <c:pt idx="125">
                  <c:v>2249</c:v>
                </c:pt>
                <c:pt idx="126">
                  <c:v>2426</c:v>
                </c:pt>
                <c:pt idx="127">
                  <c:v>2685</c:v>
                </c:pt>
                <c:pt idx="128">
                  <c:v>2116</c:v>
                </c:pt>
                <c:pt idx="129">
                  <c:v>398</c:v>
                </c:pt>
                <c:pt idx="130">
                  <c:v>152</c:v>
                </c:pt>
                <c:pt idx="131">
                  <c:v>1328</c:v>
                </c:pt>
                <c:pt idx="132">
                  <c:v>1898</c:v>
                </c:pt>
                <c:pt idx="133">
                  <c:v>1836</c:v>
                </c:pt>
                <c:pt idx="134">
                  <c:v>1824</c:v>
                </c:pt>
                <c:pt idx="135">
                  <c:v>1206</c:v>
                </c:pt>
                <c:pt idx="136">
                  <c:v>230</c:v>
                </c:pt>
                <c:pt idx="137">
                  <c:v>155</c:v>
                </c:pt>
                <c:pt idx="138">
                  <c:v>1160</c:v>
                </c:pt>
                <c:pt idx="139">
                  <c:v>2852</c:v>
                </c:pt>
                <c:pt idx="140">
                  <c:v>3205</c:v>
                </c:pt>
                <c:pt idx="141">
                  <c:v>8087</c:v>
                </c:pt>
                <c:pt idx="142">
                  <c:v>8249</c:v>
                </c:pt>
                <c:pt idx="143">
                  <c:v>3723</c:v>
                </c:pt>
                <c:pt idx="144">
                  <c:v>3664</c:v>
                </c:pt>
                <c:pt idx="145">
                  <c:v>11540</c:v>
                </c:pt>
                <c:pt idx="146">
                  <c:v>10281</c:v>
                </c:pt>
                <c:pt idx="147">
                  <c:v>12135</c:v>
                </c:pt>
                <c:pt idx="148">
                  <c:v>13607</c:v>
                </c:pt>
                <c:pt idx="149">
                  <c:v>11441</c:v>
                </c:pt>
                <c:pt idx="150">
                  <c:v>4147</c:v>
                </c:pt>
                <c:pt idx="151">
                  <c:v>4092</c:v>
                </c:pt>
                <c:pt idx="152">
                  <c:v>10062</c:v>
                </c:pt>
                <c:pt idx="153">
                  <c:v>9413</c:v>
                </c:pt>
                <c:pt idx="154">
                  <c:v>9012</c:v>
                </c:pt>
                <c:pt idx="155">
                  <c:v>9719</c:v>
                </c:pt>
                <c:pt idx="156">
                  <c:v>8089</c:v>
                </c:pt>
                <c:pt idx="157">
                  <c:v>2508</c:v>
                </c:pt>
                <c:pt idx="158">
                  <c:v>1695</c:v>
                </c:pt>
                <c:pt idx="159">
                  <c:v>6853</c:v>
                </c:pt>
                <c:pt idx="160">
                  <c:v>7107</c:v>
                </c:pt>
                <c:pt idx="161">
                  <c:v>6135</c:v>
                </c:pt>
                <c:pt idx="162">
                  <c:v>7465</c:v>
                </c:pt>
                <c:pt idx="163">
                  <c:v>7000</c:v>
                </c:pt>
                <c:pt idx="164">
                  <c:v>1847</c:v>
                </c:pt>
                <c:pt idx="165">
                  <c:v>1225</c:v>
                </c:pt>
                <c:pt idx="166">
                  <c:v>5647</c:v>
                </c:pt>
                <c:pt idx="167">
                  <c:v>6225</c:v>
                </c:pt>
                <c:pt idx="168">
                  <c:v>6225</c:v>
                </c:pt>
                <c:pt idx="169">
                  <c:v>6698</c:v>
                </c:pt>
                <c:pt idx="170">
                  <c:v>5560</c:v>
                </c:pt>
                <c:pt idx="171">
                  <c:v>2114</c:v>
                </c:pt>
                <c:pt idx="172">
                  <c:v>1110</c:v>
                </c:pt>
                <c:pt idx="173">
                  <c:v>4786</c:v>
                </c:pt>
                <c:pt idx="174">
                  <c:v>5238</c:v>
                </c:pt>
                <c:pt idx="175">
                  <c:v>5195</c:v>
                </c:pt>
                <c:pt idx="176">
                  <c:v>5101</c:v>
                </c:pt>
                <c:pt idx="177">
                  <c:v>3707</c:v>
                </c:pt>
                <c:pt idx="178">
                  <c:v>1171</c:v>
                </c:pt>
                <c:pt idx="179">
                  <c:v>801</c:v>
                </c:pt>
                <c:pt idx="180">
                  <c:v>2902</c:v>
                </c:pt>
                <c:pt idx="181">
                  <c:v>3642</c:v>
                </c:pt>
                <c:pt idx="182">
                  <c:v>3497</c:v>
                </c:pt>
                <c:pt idx="183">
                  <c:v>3201</c:v>
                </c:pt>
                <c:pt idx="184">
                  <c:v>1542</c:v>
                </c:pt>
                <c:pt idx="185">
                  <c:v>794</c:v>
                </c:pt>
                <c:pt idx="186">
                  <c:v>476</c:v>
                </c:pt>
                <c:pt idx="187">
                  <c:v>1165</c:v>
                </c:pt>
                <c:pt idx="188">
                  <c:v>2194</c:v>
                </c:pt>
                <c:pt idx="189">
                  <c:v>4219</c:v>
                </c:pt>
                <c:pt idx="190">
                  <c:v>5422</c:v>
                </c:pt>
                <c:pt idx="191">
                  <c:v>4743</c:v>
                </c:pt>
                <c:pt idx="192">
                  <c:v>1384</c:v>
                </c:pt>
                <c:pt idx="193">
                  <c:v>409</c:v>
                </c:pt>
                <c:pt idx="194">
                  <c:v>3854</c:v>
                </c:pt>
                <c:pt idx="195">
                  <c:v>4330</c:v>
                </c:pt>
                <c:pt idx="196">
                  <c:v>4132</c:v>
                </c:pt>
                <c:pt idx="197">
                  <c:v>3797</c:v>
                </c:pt>
                <c:pt idx="198">
                  <c:v>2572</c:v>
                </c:pt>
                <c:pt idx="199">
                  <c:v>638</c:v>
                </c:pt>
                <c:pt idx="200">
                  <c:v>334</c:v>
                </c:pt>
                <c:pt idx="201">
                  <c:v>2169</c:v>
                </c:pt>
                <c:pt idx="202">
                  <c:v>2658</c:v>
                </c:pt>
                <c:pt idx="203">
                  <c:v>2443</c:v>
                </c:pt>
                <c:pt idx="204">
                  <c:v>1889</c:v>
                </c:pt>
                <c:pt idx="205">
                  <c:v>1276</c:v>
                </c:pt>
                <c:pt idx="206">
                  <c:v>153</c:v>
                </c:pt>
                <c:pt idx="207">
                  <c:v>30</c:v>
                </c:pt>
                <c:pt idx="208">
                  <c:v>1122</c:v>
                </c:pt>
                <c:pt idx="209">
                  <c:v>1221</c:v>
                </c:pt>
                <c:pt idx="210">
                  <c:v>1302</c:v>
                </c:pt>
                <c:pt idx="211">
                  <c:v>1035</c:v>
                </c:pt>
                <c:pt idx="212">
                  <c:v>619</c:v>
                </c:pt>
                <c:pt idx="213">
                  <c:v>49</c:v>
                </c:pt>
                <c:pt idx="214">
                  <c:v>15</c:v>
                </c:pt>
                <c:pt idx="215">
                  <c:v>476</c:v>
                </c:pt>
                <c:pt idx="216">
                  <c:v>697</c:v>
                </c:pt>
                <c:pt idx="217">
                  <c:v>868</c:v>
                </c:pt>
                <c:pt idx="218">
                  <c:v>886</c:v>
                </c:pt>
                <c:pt idx="219">
                  <c:v>672</c:v>
                </c:pt>
                <c:pt idx="220">
                  <c:v>24</c:v>
                </c:pt>
                <c:pt idx="221">
                  <c:v>43</c:v>
                </c:pt>
                <c:pt idx="222">
                  <c:v>637</c:v>
                </c:pt>
                <c:pt idx="223">
                  <c:v>673</c:v>
                </c:pt>
                <c:pt idx="224">
                  <c:v>552</c:v>
                </c:pt>
                <c:pt idx="225">
                  <c:v>502</c:v>
                </c:pt>
                <c:pt idx="226">
                  <c:v>286</c:v>
                </c:pt>
                <c:pt idx="227">
                  <c:v>49</c:v>
                </c:pt>
                <c:pt idx="228">
                  <c:v>4</c:v>
                </c:pt>
                <c:pt idx="229">
                  <c:v>171</c:v>
                </c:pt>
                <c:pt idx="230">
                  <c:v>237</c:v>
                </c:pt>
                <c:pt idx="231">
                  <c:v>177</c:v>
                </c:pt>
                <c:pt idx="232">
                  <c:v>190</c:v>
                </c:pt>
                <c:pt idx="233">
                  <c:v>116</c:v>
                </c:pt>
                <c:pt idx="234">
                  <c:v>1</c:v>
                </c:pt>
                <c:pt idx="235">
                  <c:v>6</c:v>
                </c:pt>
                <c:pt idx="236">
                  <c:v>65</c:v>
                </c:pt>
                <c:pt idx="237">
                  <c:v>78</c:v>
                </c:pt>
                <c:pt idx="238">
                  <c:v>79</c:v>
                </c:pt>
                <c:pt idx="239">
                  <c:v>70</c:v>
                </c:pt>
                <c:pt idx="240">
                  <c:v>47</c:v>
                </c:pt>
                <c:pt idx="241">
                  <c:v>21</c:v>
                </c:pt>
                <c:pt idx="242">
                  <c:v>0</c:v>
                </c:pt>
                <c:pt idx="243">
                  <c:v>33</c:v>
                </c:pt>
                <c:pt idx="244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D85-47C2-92CB-D22E4A4C65D5}"/>
            </c:ext>
          </c:extLst>
        </c:ser>
        <c:ser>
          <c:idx val="12"/>
          <c:order val="12"/>
          <c:tx>
            <c:strRef>
              <c:f>List1!$N$1</c:f>
              <c:strCache>
                <c:ptCount val="1"/>
                <c:pt idx="0">
                  <c:v>16 75-79</c:v>
                </c:pt>
              </c:strCache>
            </c:strRef>
          </c:tx>
          <c:spPr>
            <a:solidFill>
              <a:schemeClr val="accent1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N$5:$N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5</c:v>
                </c:pt>
                <c:pt idx="19">
                  <c:v>26</c:v>
                </c:pt>
                <c:pt idx="20">
                  <c:v>50</c:v>
                </c:pt>
                <c:pt idx="21">
                  <c:v>47</c:v>
                </c:pt>
                <c:pt idx="22">
                  <c:v>32</c:v>
                </c:pt>
                <c:pt idx="23">
                  <c:v>37</c:v>
                </c:pt>
                <c:pt idx="24">
                  <c:v>12</c:v>
                </c:pt>
                <c:pt idx="25">
                  <c:v>8</c:v>
                </c:pt>
                <c:pt idx="26">
                  <c:v>18</c:v>
                </c:pt>
                <c:pt idx="27">
                  <c:v>28</c:v>
                </c:pt>
                <c:pt idx="28">
                  <c:v>25</c:v>
                </c:pt>
                <c:pt idx="29">
                  <c:v>94</c:v>
                </c:pt>
                <c:pt idx="30">
                  <c:v>153</c:v>
                </c:pt>
                <c:pt idx="31">
                  <c:v>40</c:v>
                </c:pt>
                <c:pt idx="32">
                  <c:v>49</c:v>
                </c:pt>
                <c:pt idx="33">
                  <c:v>161</c:v>
                </c:pt>
                <c:pt idx="34">
                  <c:v>294</c:v>
                </c:pt>
                <c:pt idx="35">
                  <c:v>374</c:v>
                </c:pt>
                <c:pt idx="36">
                  <c:v>487</c:v>
                </c:pt>
                <c:pt idx="37">
                  <c:v>355</c:v>
                </c:pt>
                <c:pt idx="38">
                  <c:v>51</c:v>
                </c:pt>
                <c:pt idx="39">
                  <c:v>60</c:v>
                </c:pt>
                <c:pt idx="40">
                  <c:v>273</c:v>
                </c:pt>
                <c:pt idx="41">
                  <c:v>334</c:v>
                </c:pt>
                <c:pt idx="42">
                  <c:v>507</c:v>
                </c:pt>
                <c:pt idx="43">
                  <c:v>629</c:v>
                </c:pt>
                <c:pt idx="44">
                  <c:v>452</c:v>
                </c:pt>
                <c:pt idx="45">
                  <c:v>152</c:v>
                </c:pt>
                <c:pt idx="46">
                  <c:v>26</c:v>
                </c:pt>
                <c:pt idx="47">
                  <c:v>282</c:v>
                </c:pt>
                <c:pt idx="48">
                  <c:v>357</c:v>
                </c:pt>
                <c:pt idx="49">
                  <c:v>325</c:v>
                </c:pt>
                <c:pt idx="50">
                  <c:v>287</c:v>
                </c:pt>
                <c:pt idx="51">
                  <c:v>289</c:v>
                </c:pt>
                <c:pt idx="52">
                  <c:v>8</c:v>
                </c:pt>
                <c:pt idx="53">
                  <c:v>6</c:v>
                </c:pt>
                <c:pt idx="54">
                  <c:v>173</c:v>
                </c:pt>
                <c:pt idx="55">
                  <c:v>192</c:v>
                </c:pt>
                <c:pt idx="56">
                  <c:v>168</c:v>
                </c:pt>
                <c:pt idx="57">
                  <c:v>149</c:v>
                </c:pt>
                <c:pt idx="58">
                  <c:v>99</c:v>
                </c:pt>
                <c:pt idx="59">
                  <c:v>11</c:v>
                </c:pt>
                <c:pt idx="60">
                  <c:v>9</c:v>
                </c:pt>
                <c:pt idx="61">
                  <c:v>96</c:v>
                </c:pt>
                <c:pt idx="62">
                  <c:v>116</c:v>
                </c:pt>
                <c:pt idx="63">
                  <c:v>130</c:v>
                </c:pt>
                <c:pt idx="64">
                  <c:v>158</c:v>
                </c:pt>
                <c:pt idx="65">
                  <c:v>218</c:v>
                </c:pt>
                <c:pt idx="66">
                  <c:v>6</c:v>
                </c:pt>
                <c:pt idx="67">
                  <c:v>19</c:v>
                </c:pt>
                <c:pt idx="68">
                  <c:v>167</c:v>
                </c:pt>
                <c:pt idx="69">
                  <c:v>193</c:v>
                </c:pt>
                <c:pt idx="70">
                  <c:v>203</c:v>
                </c:pt>
                <c:pt idx="71">
                  <c:v>298</c:v>
                </c:pt>
                <c:pt idx="72">
                  <c:v>352</c:v>
                </c:pt>
                <c:pt idx="73">
                  <c:v>44</c:v>
                </c:pt>
                <c:pt idx="74">
                  <c:v>31</c:v>
                </c:pt>
                <c:pt idx="75">
                  <c:v>271</c:v>
                </c:pt>
                <c:pt idx="76">
                  <c:v>322</c:v>
                </c:pt>
                <c:pt idx="77">
                  <c:v>349</c:v>
                </c:pt>
                <c:pt idx="78">
                  <c:v>315</c:v>
                </c:pt>
                <c:pt idx="79">
                  <c:v>535</c:v>
                </c:pt>
                <c:pt idx="80">
                  <c:v>35</c:v>
                </c:pt>
                <c:pt idx="81">
                  <c:v>39</c:v>
                </c:pt>
                <c:pt idx="82">
                  <c:v>559</c:v>
                </c:pt>
                <c:pt idx="83">
                  <c:v>1159</c:v>
                </c:pt>
                <c:pt idx="84">
                  <c:v>2169</c:v>
                </c:pt>
                <c:pt idx="85">
                  <c:v>2477</c:v>
                </c:pt>
                <c:pt idx="86">
                  <c:v>3028</c:v>
                </c:pt>
                <c:pt idx="87">
                  <c:v>1134</c:v>
                </c:pt>
                <c:pt idx="88">
                  <c:v>992</c:v>
                </c:pt>
                <c:pt idx="89">
                  <c:v>4812</c:v>
                </c:pt>
                <c:pt idx="90">
                  <c:v>5633</c:v>
                </c:pt>
                <c:pt idx="91">
                  <c:v>8382</c:v>
                </c:pt>
                <c:pt idx="92">
                  <c:v>10291</c:v>
                </c:pt>
                <c:pt idx="93">
                  <c:v>4580</c:v>
                </c:pt>
                <c:pt idx="94">
                  <c:v>3704</c:v>
                </c:pt>
                <c:pt idx="95">
                  <c:v>2476</c:v>
                </c:pt>
                <c:pt idx="96">
                  <c:v>2220</c:v>
                </c:pt>
                <c:pt idx="97">
                  <c:v>8851</c:v>
                </c:pt>
                <c:pt idx="98">
                  <c:v>7189</c:v>
                </c:pt>
                <c:pt idx="99">
                  <c:v>9591</c:v>
                </c:pt>
                <c:pt idx="100">
                  <c:v>8396</c:v>
                </c:pt>
                <c:pt idx="101">
                  <c:v>5164</c:v>
                </c:pt>
                <c:pt idx="102">
                  <c:v>3998</c:v>
                </c:pt>
                <c:pt idx="103">
                  <c:v>7016</c:v>
                </c:pt>
                <c:pt idx="104">
                  <c:v>6416</c:v>
                </c:pt>
                <c:pt idx="105">
                  <c:v>6452</c:v>
                </c:pt>
                <c:pt idx="106">
                  <c:v>6468</c:v>
                </c:pt>
                <c:pt idx="107">
                  <c:v>5700</c:v>
                </c:pt>
                <c:pt idx="108">
                  <c:v>2340</c:v>
                </c:pt>
                <c:pt idx="109">
                  <c:v>1423</c:v>
                </c:pt>
                <c:pt idx="110">
                  <c:v>3850</c:v>
                </c:pt>
                <c:pt idx="111">
                  <c:v>3853</c:v>
                </c:pt>
                <c:pt idx="112">
                  <c:v>3229</c:v>
                </c:pt>
                <c:pt idx="113">
                  <c:v>3544</c:v>
                </c:pt>
                <c:pt idx="114">
                  <c:v>2257</c:v>
                </c:pt>
                <c:pt idx="115">
                  <c:v>1401</c:v>
                </c:pt>
                <c:pt idx="116">
                  <c:v>658</c:v>
                </c:pt>
                <c:pt idx="117">
                  <c:v>1379</c:v>
                </c:pt>
                <c:pt idx="118">
                  <c:v>2110</c:v>
                </c:pt>
                <c:pt idx="119">
                  <c:v>2357</c:v>
                </c:pt>
                <c:pt idx="120">
                  <c:v>2437</c:v>
                </c:pt>
                <c:pt idx="121">
                  <c:v>1416</c:v>
                </c:pt>
                <c:pt idx="122">
                  <c:v>487</c:v>
                </c:pt>
                <c:pt idx="123">
                  <c:v>347</c:v>
                </c:pt>
                <c:pt idx="124">
                  <c:v>846</c:v>
                </c:pt>
                <c:pt idx="125">
                  <c:v>1422</c:v>
                </c:pt>
                <c:pt idx="126">
                  <c:v>1552</c:v>
                </c:pt>
                <c:pt idx="127">
                  <c:v>1627</c:v>
                </c:pt>
                <c:pt idx="128">
                  <c:v>1285</c:v>
                </c:pt>
                <c:pt idx="129">
                  <c:v>217</c:v>
                </c:pt>
                <c:pt idx="130">
                  <c:v>135</c:v>
                </c:pt>
                <c:pt idx="131">
                  <c:v>1011</c:v>
                </c:pt>
                <c:pt idx="132">
                  <c:v>1409</c:v>
                </c:pt>
                <c:pt idx="133">
                  <c:v>1402</c:v>
                </c:pt>
                <c:pt idx="134">
                  <c:v>1330</c:v>
                </c:pt>
                <c:pt idx="135">
                  <c:v>834</c:v>
                </c:pt>
                <c:pt idx="136">
                  <c:v>225</c:v>
                </c:pt>
                <c:pt idx="137">
                  <c:v>110</c:v>
                </c:pt>
                <c:pt idx="138">
                  <c:v>789</c:v>
                </c:pt>
                <c:pt idx="139">
                  <c:v>2509</c:v>
                </c:pt>
                <c:pt idx="140">
                  <c:v>2197</c:v>
                </c:pt>
                <c:pt idx="141">
                  <c:v>4404</c:v>
                </c:pt>
                <c:pt idx="142">
                  <c:v>3586</c:v>
                </c:pt>
                <c:pt idx="143">
                  <c:v>1318</c:v>
                </c:pt>
                <c:pt idx="144">
                  <c:v>1002</c:v>
                </c:pt>
                <c:pt idx="145">
                  <c:v>3781</c:v>
                </c:pt>
                <c:pt idx="146">
                  <c:v>4232</c:v>
                </c:pt>
                <c:pt idx="147">
                  <c:v>4412</c:v>
                </c:pt>
                <c:pt idx="148">
                  <c:v>4530</c:v>
                </c:pt>
                <c:pt idx="149">
                  <c:v>4449</c:v>
                </c:pt>
                <c:pt idx="150">
                  <c:v>973</c:v>
                </c:pt>
                <c:pt idx="151">
                  <c:v>1123</c:v>
                </c:pt>
                <c:pt idx="152">
                  <c:v>3586</c:v>
                </c:pt>
                <c:pt idx="153">
                  <c:v>4509</c:v>
                </c:pt>
                <c:pt idx="154">
                  <c:v>4632</c:v>
                </c:pt>
                <c:pt idx="155">
                  <c:v>5088</c:v>
                </c:pt>
                <c:pt idx="156">
                  <c:v>4480</c:v>
                </c:pt>
                <c:pt idx="157">
                  <c:v>1271</c:v>
                </c:pt>
                <c:pt idx="158">
                  <c:v>714</c:v>
                </c:pt>
                <c:pt idx="159">
                  <c:v>3793</c:v>
                </c:pt>
                <c:pt idx="160">
                  <c:v>4083</c:v>
                </c:pt>
                <c:pt idx="161">
                  <c:v>3863</c:v>
                </c:pt>
                <c:pt idx="162">
                  <c:v>5159</c:v>
                </c:pt>
                <c:pt idx="163">
                  <c:v>5190</c:v>
                </c:pt>
                <c:pt idx="164">
                  <c:v>1357</c:v>
                </c:pt>
                <c:pt idx="165">
                  <c:v>672</c:v>
                </c:pt>
                <c:pt idx="166">
                  <c:v>3523</c:v>
                </c:pt>
                <c:pt idx="167">
                  <c:v>3757</c:v>
                </c:pt>
                <c:pt idx="168">
                  <c:v>4221</c:v>
                </c:pt>
                <c:pt idx="169">
                  <c:v>4056</c:v>
                </c:pt>
                <c:pt idx="170">
                  <c:v>3535</c:v>
                </c:pt>
                <c:pt idx="171">
                  <c:v>1276</c:v>
                </c:pt>
                <c:pt idx="172">
                  <c:v>525</c:v>
                </c:pt>
                <c:pt idx="173">
                  <c:v>2843</c:v>
                </c:pt>
                <c:pt idx="174">
                  <c:v>3191</c:v>
                </c:pt>
                <c:pt idx="175">
                  <c:v>3150</c:v>
                </c:pt>
                <c:pt idx="176">
                  <c:v>3141</c:v>
                </c:pt>
                <c:pt idx="177">
                  <c:v>2288</c:v>
                </c:pt>
                <c:pt idx="178">
                  <c:v>637</c:v>
                </c:pt>
                <c:pt idx="179">
                  <c:v>358</c:v>
                </c:pt>
                <c:pt idx="180">
                  <c:v>1711</c:v>
                </c:pt>
                <c:pt idx="181">
                  <c:v>2155</c:v>
                </c:pt>
                <c:pt idx="182">
                  <c:v>2190</c:v>
                </c:pt>
                <c:pt idx="183">
                  <c:v>2011</c:v>
                </c:pt>
                <c:pt idx="184">
                  <c:v>809</c:v>
                </c:pt>
                <c:pt idx="185">
                  <c:v>394</c:v>
                </c:pt>
                <c:pt idx="186">
                  <c:v>239</c:v>
                </c:pt>
                <c:pt idx="187">
                  <c:v>587</c:v>
                </c:pt>
                <c:pt idx="188">
                  <c:v>1296</c:v>
                </c:pt>
                <c:pt idx="189">
                  <c:v>2708</c:v>
                </c:pt>
                <c:pt idx="190">
                  <c:v>3477</c:v>
                </c:pt>
                <c:pt idx="191">
                  <c:v>3127</c:v>
                </c:pt>
                <c:pt idx="192">
                  <c:v>719</c:v>
                </c:pt>
                <c:pt idx="193">
                  <c:v>195</c:v>
                </c:pt>
                <c:pt idx="194">
                  <c:v>2292</c:v>
                </c:pt>
                <c:pt idx="195">
                  <c:v>2334</c:v>
                </c:pt>
                <c:pt idx="196">
                  <c:v>2363</c:v>
                </c:pt>
                <c:pt idx="197">
                  <c:v>2167</c:v>
                </c:pt>
                <c:pt idx="198">
                  <c:v>1396</c:v>
                </c:pt>
                <c:pt idx="199">
                  <c:v>336</c:v>
                </c:pt>
                <c:pt idx="200">
                  <c:v>167</c:v>
                </c:pt>
                <c:pt idx="201">
                  <c:v>1258</c:v>
                </c:pt>
                <c:pt idx="202">
                  <c:v>1475</c:v>
                </c:pt>
                <c:pt idx="203">
                  <c:v>1452</c:v>
                </c:pt>
                <c:pt idx="204">
                  <c:v>971</c:v>
                </c:pt>
                <c:pt idx="205">
                  <c:v>662</c:v>
                </c:pt>
                <c:pt idx="206">
                  <c:v>73</c:v>
                </c:pt>
                <c:pt idx="207">
                  <c:v>15</c:v>
                </c:pt>
                <c:pt idx="208">
                  <c:v>604</c:v>
                </c:pt>
                <c:pt idx="209">
                  <c:v>663</c:v>
                </c:pt>
                <c:pt idx="210">
                  <c:v>704</c:v>
                </c:pt>
                <c:pt idx="211">
                  <c:v>594</c:v>
                </c:pt>
                <c:pt idx="212">
                  <c:v>309</c:v>
                </c:pt>
                <c:pt idx="213">
                  <c:v>9</c:v>
                </c:pt>
                <c:pt idx="214">
                  <c:v>21</c:v>
                </c:pt>
                <c:pt idx="215">
                  <c:v>274</c:v>
                </c:pt>
                <c:pt idx="216">
                  <c:v>381</c:v>
                </c:pt>
                <c:pt idx="217">
                  <c:v>528</c:v>
                </c:pt>
                <c:pt idx="218">
                  <c:v>550</c:v>
                </c:pt>
                <c:pt idx="219">
                  <c:v>359</c:v>
                </c:pt>
                <c:pt idx="220">
                  <c:v>8</c:v>
                </c:pt>
                <c:pt idx="221">
                  <c:v>21</c:v>
                </c:pt>
                <c:pt idx="222">
                  <c:v>377</c:v>
                </c:pt>
                <c:pt idx="223">
                  <c:v>426</c:v>
                </c:pt>
                <c:pt idx="224">
                  <c:v>307</c:v>
                </c:pt>
                <c:pt idx="225">
                  <c:v>265</c:v>
                </c:pt>
                <c:pt idx="226">
                  <c:v>166</c:v>
                </c:pt>
                <c:pt idx="227">
                  <c:v>23</c:v>
                </c:pt>
                <c:pt idx="228">
                  <c:v>4</c:v>
                </c:pt>
                <c:pt idx="229">
                  <c:v>99</c:v>
                </c:pt>
                <c:pt idx="230">
                  <c:v>123</c:v>
                </c:pt>
                <c:pt idx="231">
                  <c:v>129</c:v>
                </c:pt>
                <c:pt idx="232">
                  <c:v>111</c:v>
                </c:pt>
                <c:pt idx="233">
                  <c:v>69</c:v>
                </c:pt>
                <c:pt idx="234">
                  <c:v>0</c:v>
                </c:pt>
                <c:pt idx="235">
                  <c:v>4</c:v>
                </c:pt>
                <c:pt idx="236">
                  <c:v>33</c:v>
                </c:pt>
                <c:pt idx="237">
                  <c:v>50</c:v>
                </c:pt>
                <c:pt idx="238">
                  <c:v>50</c:v>
                </c:pt>
                <c:pt idx="239">
                  <c:v>56</c:v>
                </c:pt>
                <c:pt idx="240">
                  <c:v>38</c:v>
                </c:pt>
                <c:pt idx="241">
                  <c:v>8</c:v>
                </c:pt>
                <c:pt idx="242">
                  <c:v>0</c:v>
                </c:pt>
                <c:pt idx="243">
                  <c:v>14</c:v>
                </c:pt>
                <c:pt idx="244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D85-47C2-92CB-D22E4A4C65D5}"/>
            </c:ext>
          </c:extLst>
        </c:ser>
        <c:ser>
          <c:idx val="13"/>
          <c:order val="13"/>
          <c:tx>
            <c:strRef>
              <c:f>List1!$O$1</c:f>
              <c:strCache>
                <c:ptCount val="1"/>
                <c:pt idx="0">
                  <c:v>17 80-84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O$5:$O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23</c:v>
                </c:pt>
                <c:pt idx="20">
                  <c:v>63</c:v>
                </c:pt>
                <c:pt idx="21">
                  <c:v>43</c:v>
                </c:pt>
                <c:pt idx="22">
                  <c:v>19</c:v>
                </c:pt>
                <c:pt idx="23">
                  <c:v>24</c:v>
                </c:pt>
                <c:pt idx="24">
                  <c:v>6</c:v>
                </c:pt>
                <c:pt idx="25">
                  <c:v>0</c:v>
                </c:pt>
                <c:pt idx="26">
                  <c:v>9</c:v>
                </c:pt>
                <c:pt idx="27">
                  <c:v>8</c:v>
                </c:pt>
                <c:pt idx="28">
                  <c:v>8</c:v>
                </c:pt>
                <c:pt idx="29">
                  <c:v>92</c:v>
                </c:pt>
                <c:pt idx="30">
                  <c:v>133</c:v>
                </c:pt>
                <c:pt idx="31">
                  <c:v>33</c:v>
                </c:pt>
                <c:pt idx="32">
                  <c:v>34</c:v>
                </c:pt>
                <c:pt idx="33">
                  <c:v>146</c:v>
                </c:pt>
                <c:pt idx="34">
                  <c:v>299</c:v>
                </c:pt>
                <c:pt idx="35">
                  <c:v>377</c:v>
                </c:pt>
                <c:pt idx="36">
                  <c:v>567</c:v>
                </c:pt>
                <c:pt idx="37">
                  <c:v>471</c:v>
                </c:pt>
                <c:pt idx="38">
                  <c:v>569</c:v>
                </c:pt>
                <c:pt idx="39">
                  <c:v>737</c:v>
                </c:pt>
                <c:pt idx="40">
                  <c:v>1817</c:v>
                </c:pt>
                <c:pt idx="41">
                  <c:v>2374</c:v>
                </c:pt>
                <c:pt idx="42">
                  <c:v>2931</c:v>
                </c:pt>
                <c:pt idx="43">
                  <c:v>4169</c:v>
                </c:pt>
                <c:pt idx="44">
                  <c:v>4213</c:v>
                </c:pt>
                <c:pt idx="45">
                  <c:v>1066</c:v>
                </c:pt>
                <c:pt idx="46">
                  <c:v>679</c:v>
                </c:pt>
                <c:pt idx="47">
                  <c:v>2725</c:v>
                </c:pt>
                <c:pt idx="48">
                  <c:v>2425</c:v>
                </c:pt>
                <c:pt idx="49">
                  <c:v>2229</c:v>
                </c:pt>
                <c:pt idx="50">
                  <c:v>2054</c:v>
                </c:pt>
                <c:pt idx="51">
                  <c:v>2221</c:v>
                </c:pt>
                <c:pt idx="52">
                  <c:v>522</c:v>
                </c:pt>
                <c:pt idx="53">
                  <c:v>461</c:v>
                </c:pt>
                <c:pt idx="54">
                  <c:v>1641</c:v>
                </c:pt>
                <c:pt idx="55">
                  <c:v>1657</c:v>
                </c:pt>
                <c:pt idx="56">
                  <c:v>1586</c:v>
                </c:pt>
                <c:pt idx="57">
                  <c:v>1573</c:v>
                </c:pt>
                <c:pt idx="58">
                  <c:v>1485</c:v>
                </c:pt>
                <c:pt idx="59">
                  <c:v>253</c:v>
                </c:pt>
                <c:pt idx="60">
                  <c:v>215</c:v>
                </c:pt>
                <c:pt idx="61">
                  <c:v>1128</c:v>
                </c:pt>
                <c:pt idx="62">
                  <c:v>1002</c:v>
                </c:pt>
                <c:pt idx="63">
                  <c:v>1162</c:v>
                </c:pt>
                <c:pt idx="64">
                  <c:v>1299</c:v>
                </c:pt>
                <c:pt idx="65">
                  <c:v>1460</c:v>
                </c:pt>
                <c:pt idx="66">
                  <c:v>316</c:v>
                </c:pt>
                <c:pt idx="67">
                  <c:v>315</c:v>
                </c:pt>
                <c:pt idx="68">
                  <c:v>1401</c:v>
                </c:pt>
                <c:pt idx="69">
                  <c:v>1886</c:v>
                </c:pt>
                <c:pt idx="70">
                  <c:v>1793</c:v>
                </c:pt>
                <c:pt idx="71">
                  <c:v>2204</c:v>
                </c:pt>
                <c:pt idx="72">
                  <c:v>2016</c:v>
                </c:pt>
                <c:pt idx="73">
                  <c:v>472</c:v>
                </c:pt>
                <c:pt idx="74">
                  <c:v>276</c:v>
                </c:pt>
                <c:pt idx="75">
                  <c:v>2443</c:v>
                </c:pt>
                <c:pt idx="76">
                  <c:v>3421</c:v>
                </c:pt>
                <c:pt idx="77">
                  <c:v>3243</c:v>
                </c:pt>
                <c:pt idx="78">
                  <c:v>4384</c:v>
                </c:pt>
                <c:pt idx="79">
                  <c:v>4457</c:v>
                </c:pt>
                <c:pt idx="80">
                  <c:v>866</c:v>
                </c:pt>
                <c:pt idx="81">
                  <c:v>659</c:v>
                </c:pt>
                <c:pt idx="82">
                  <c:v>3756</c:v>
                </c:pt>
                <c:pt idx="83">
                  <c:v>3787</c:v>
                </c:pt>
                <c:pt idx="84">
                  <c:v>3928</c:v>
                </c:pt>
                <c:pt idx="85">
                  <c:v>5393</c:v>
                </c:pt>
                <c:pt idx="86">
                  <c:v>3833</c:v>
                </c:pt>
                <c:pt idx="87">
                  <c:v>809</c:v>
                </c:pt>
                <c:pt idx="88">
                  <c:v>737</c:v>
                </c:pt>
                <c:pt idx="89">
                  <c:v>3373</c:v>
                </c:pt>
                <c:pt idx="90">
                  <c:v>2787</c:v>
                </c:pt>
                <c:pt idx="91">
                  <c:v>3296</c:v>
                </c:pt>
                <c:pt idx="92">
                  <c:v>3444</c:v>
                </c:pt>
                <c:pt idx="93">
                  <c:v>959</c:v>
                </c:pt>
                <c:pt idx="94">
                  <c:v>920</c:v>
                </c:pt>
                <c:pt idx="95">
                  <c:v>905</c:v>
                </c:pt>
                <c:pt idx="96">
                  <c:v>537</c:v>
                </c:pt>
                <c:pt idx="97">
                  <c:v>1957</c:v>
                </c:pt>
                <c:pt idx="98">
                  <c:v>1476</c:v>
                </c:pt>
                <c:pt idx="99">
                  <c:v>2106</c:v>
                </c:pt>
                <c:pt idx="100">
                  <c:v>1686</c:v>
                </c:pt>
                <c:pt idx="101">
                  <c:v>709</c:v>
                </c:pt>
                <c:pt idx="102">
                  <c:v>450</c:v>
                </c:pt>
                <c:pt idx="103">
                  <c:v>1002</c:v>
                </c:pt>
                <c:pt idx="104">
                  <c:v>1075</c:v>
                </c:pt>
                <c:pt idx="105">
                  <c:v>1198</c:v>
                </c:pt>
                <c:pt idx="106">
                  <c:v>1349</c:v>
                </c:pt>
                <c:pt idx="107">
                  <c:v>1134</c:v>
                </c:pt>
                <c:pt idx="108">
                  <c:v>312</c:v>
                </c:pt>
                <c:pt idx="109">
                  <c:v>181</c:v>
                </c:pt>
                <c:pt idx="110">
                  <c:v>835</c:v>
                </c:pt>
                <c:pt idx="111">
                  <c:v>801</c:v>
                </c:pt>
                <c:pt idx="112">
                  <c:v>693</c:v>
                </c:pt>
                <c:pt idx="113">
                  <c:v>715</c:v>
                </c:pt>
                <c:pt idx="114">
                  <c:v>441</c:v>
                </c:pt>
                <c:pt idx="115">
                  <c:v>204</c:v>
                </c:pt>
                <c:pt idx="116">
                  <c:v>95</c:v>
                </c:pt>
                <c:pt idx="117">
                  <c:v>399</c:v>
                </c:pt>
                <c:pt idx="118">
                  <c:v>430</c:v>
                </c:pt>
                <c:pt idx="119">
                  <c:v>590</c:v>
                </c:pt>
                <c:pt idx="120">
                  <c:v>666</c:v>
                </c:pt>
                <c:pt idx="121">
                  <c:v>352</c:v>
                </c:pt>
                <c:pt idx="122">
                  <c:v>87</c:v>
                </c:pt>
                <c:pt idx="123">
                  <c:v>69</c:v>
                </c:pt>
                <c:pt idx="124">
                  <c:v>221</c:v>
                </c:pt>
                <c:pt idx="125">
                  <c:v>462</c:v>
                </c:pt>
                <c:pt idx="126">
                  <c:v>528</c:v>
                </c:pt>
                <c:pt idx="127">
                  <c:v>565</c:v>
                </c:pt>
                <c:pt idx="128">
                  <c:v>519</c:v>
                </c:pt>
                <c:pt idx="129">
                  <c:v>56</c:v>
                </c:pt>
                <c:pt idx="130">
                  <c:v>135</c:v>
                </c:pt>
                <c:pt idx="131">
                  <c:v>657</c:v>
                </c:pt>
                <c:pt idx="132">
                  <c:v>883</c:v>
                </c:pt>
                <c:pt idx="133">
                  <c:v>935</c:v>
                </c:pt>
                <c:pt idx="134">
                  <c:v>933</c:v>
                </c:pt>
                <c:pt idx="135">
                  <c:v>676</c:v>
                </c:pt>
                <c:pt idx="136">
                  <c:v>309</c:v>
                </c:pt>
                <c:pt idx="137">
                  <c:v>244</c:v>
                </c:pt>
                <c:pt idx="138">
                  <c:v>673</c:v>
                </c:pt>
                <c:pt idx="139">
                  <c:v>1120</c:v>
                </c:pt>
                <c:pt idx="140">
                  <c:v>1486</c:v>
                </c:pt>
                <c:pt idx="141">
                  <c:v>1705</c:v>
                </c:pt>
                <c:pt idx="142">
                  <c:v>1243</c:v>
                </c:pt>
                <c:pt idx="143">
                  <c:v>312</c:v>
                </c:pt>
                <c:pt idx="144">
                  <c:v>206</c:v>
                </c:pt>
                <c:pt idx="145">
                  <c:v>1551</c:v>
                </c:pt>
                <c:pt idx="146">
                  <c:v>1825</c:v>
                </c:pt>
                <c:pt idx="147">
                  <c:v>1741</c:v>
                </c:pt>
                <c:pt idx="148">
                  <c:v>1724</c:v>
                </c:pt>
                <c:pt idx="149">
                  <c:v>1434</c:v>
                </c:pt>
                <c:pt idx="150">
                  <c:v>236</c:v>
                </c:pt>
                <c:pt idx="151">
                  <c:v>225</c:v>
                </c:pt>
                <c:pt idx="152">
                  <c:v>1139</c:v>
                </c:pt>
                <c:pt idx="153">
                  <c:v>1608</c:v>
                </c:pt>
                <c:pt idx="154">
                  <c:v>1868</c:v>
                </c:pt>
                <c:pt idx="155">
                  <c:v>1820</c:v>
                </c:pt>
                <c:pt idx="156">
                  <c:v>1437</c:v>
                </c:pt>
                <c:pt idx="157">
                  <c:v>304</c:v>
                </c:pt>
                <c:pt idx="158">
                  <c:v>149</c:v>
                </c:pt>
                <c:pt idx="159">
                  <c:v>1224</c:v>
                </c:pt>
                <c:pt idx="160">
                  <c:v>1408</c:v>
                </c:pt>
                <c:pt idx="161">
                  <c:v>1265</c:v>
                </c:pt>
                <c:pt idx="162">
                  <c:v>1980</c:v>
                </c:pt>
                <c:pt idx="163">
                  <c:v>1531</c:v>
                </c:pt>
                <c:pt idx="164">
                  <c:v>327</c:v>
                </c:pt>
                <c:pt idx="165">
                  <c:v>205</c:v>
                </c:pt>
                <c:pt idx="166">
                  <c:v>1028</c:v>
                </c:pt>
                <c:pt idx="167">
                  <c:v>1241</c:v>
                </c:pt>
                <c:pt idx="168">
                  <c:v>1296</c:v>
                </c:pt>
                <c:pt idx="169">
                  <c:v>1258</c:v>
                </c:pt>
                <c:pt idx="170">
                  <c:v>1071</c:v>
                </c:pt>
                <c:pt idx="171">
                  <c:v>342</c:v>
                </c:pt>
                <c:pt idx="172">
                  <c:v>162</c:v>
                </c:pt>
                <c:pt idx="173">
                  <c:v>805</c:v>
                </c:pt>
                <c:pt idx="174">
                  <c:v>1073</c:v>
                </c:pt>
                <c:pt idx="175">
                  <c:v>1046</c:v>
                </c:pt>
                <c:pt idx="176">
                  <c:v>1044</c:v>
                </c:pt>
                <c:pt idx="177">
                  <c:v>765</c:v>
                </c:pt>
                <c:pt idx="178">
                  <c:v>212</c:v>
                </c:pt>
                <c:pt idx="179">
                  <c:v>133</c:v>
                </c:pt>
                <c:pt idx="180">
                  <c:v>562</c:v>
                </c:pt>
                <c:pt idx="181">
                  <c:v>671</c:v>
                </c:pt>
                <c:pt idx="182">
                  <c:v>760</c:v>
                </c:pt>
                <c:pt idx="183">
                  <c:v>731</c:v>
                </c:pt>
                <c:pt idx="184">
                  <c:v>381</c:v>
                </c:pt>
                <c:pt idx="185">
                  <c:v>127</c:v>
                </c:pt>
                <c:pt idx="186">
                  <c:v>92</c:v>
                </c:pt>
                <c:pt idx="187">
                  <c:v>241</c:v>
                </c:pt>
                <c:pt idx="188">
                  <c:v>589</c:v>
                </c:pt>
                <c:pt idx="189">
                  <c:v>905</c:v>
                </c:pt>
                <c:pt idx="190">
                  <c:v>1192</c:v>
                </c:pt>
                <c:pt idx="191">
                  <c:v>1014</c:v>
                </c:pt>
                <c:pt idx="192">
                  <c:v>216</c:v>
                </c:pt>
                <c:pt idx="193">
                  <c:v>121</c:v>
                </c:pt>
                <c:pt idx="194">
                  <c:v>762</c:v>
                </c:pt>
                <c:pt idx="195">
                  <c:v>726</c:v>
                </c:pt>
                <c:pt idx="196">
                  <c:v>731</c:v>
                </c:pt>
                <c:pt idx="197">
                  <c:v>617</c:v>
                </c:pt>
                <c:pt idx="198">
                  <c:v>476</c:v>
                </c:pt>
                <c:pt idx="199">
                  <c:v>121</c:v>
                </c:pt>
                <c:pt idx="200">
                  <c:v>75</c:v>
                </c:pt>
                <c:pt idx="201">
                  <c:v>407</c:v>
                </c:pt>
                <c:pt idx="202">
                  <c:v>484</c:v>
                </c:pt>
                <c:pt idx="203">
                  <c:v>448</c:v>
                </c:pt>
                <c:pt idx="204">
                  <c:v>306</c:v>
                </c:pt>
                <c:pt idx="205">
                  <c:v>213</c:v>
                </c:pt>
                <c:pt idx="206">
                  <c:v>25</c:v>
                </c:pt>
                <c:pt idx="207">
                  <c:v>7</c:v>
                </c:pt>
                <c:pt idx="208">
                  <c:v>198</c:v>
                </c:pt>
                <c:pt idx="209">
                  <c:v>210</c:v>
                </c:pt>
                <c:pt idx="210">
                  <c:v>226</c:v>
                </c:pt>
                <c:pt idx="211">
                  <c:v>184</c:v>
                </c:pt>
                <c:pt idx="212">
                  <c:v>106</c:v>
                </c:pt>
                <c:pt idx="213">
                  <c:v>9</c:v>
                </c:pt>
                <c:pt idx="214">
                  <c:v>2</c:v>
                </c:pt>
                <c:pt idx="215">
                  <c:v>98</c:v>
                </c:pt>
                <c:pt idx="216">
                  <c:v>141</c:v>
                </c:pt>
                <c:pt idx="217">
                  <c:v>195</c:v>
                </c:pt>
                <c:pt idx="218">
                  <c:v>209</c:v>
                </c:pt>
                <c:pt idx="219">
                  <c:v>151</c:v>
                </c:pt>
                <c:pt idx="220">
                  <c:v>10</c:v>
                </c:pt>
                <c:pt idx="221">
                  <c:v>6</c:v>
                </c:pt>
                <c:pt idx="222">
                  <c:v>158</c:v>
                </c:pt>
                <c:pt idx="223">
                  <c:v>144</c:v>
                </c:pt>
                <c:pt idx="224">
                  <c:v>123</c:v>
                </c:pt>
                <c:pt idx="225">
                  <c:v>102</c:v>
                </c:pt>
                <c:pt idx="226">
                  <c:v>96</c:v>
                </c:pt>
                <c:pt idx="227">
                  <c:v>5</c:v>
                </c:pt>
                <c:pt idx="228">
                  <c:v>30</c:v>
                </c:pt>
                <c:pt idx="229">
                  <c:v>42</c:v>
                </c:pt>
                <c:pt idx="230">
                  <c:v>53</c:v>
                </c:pt>
                <c:pt idx="231">
                  <c:v>41</c:v>
                </c:pt>
                <c:pt idx="232">
                  <c:v>57</c:v>
                </c:pt>
                <c:pt idx="233">
                  <c:v>32</c:v>
                </c:pt>
                <c:pt idx="234">
                  <c:v>1</c:v>
                </c:pt>
                <c:pt idx="235">
                  <c:v>7</c:v>
                </c:pt>
                <c:pt idx="236">
                  <c:v>17</c:v>
                </c:pt>
                <c:pt idx="237">
                  <c:v>18</c:v>
                </c:pt>
                <c:pt idx="238">
                  <c:v>26</c:v>
                </c:pt>
                <c:pt idx="239">
                  <c:v>21</c:v>
                </c:pt>
                <c:pt idx="240">
                  <c:v>11</c:v>
                </c:pt>
                <c:pt idx="241">
                  <c:v>8</c:v>
                </c:pt>
                <c:pt idx="242">
                  <c:v>0</c:v>
                </c:pt>
                <c:pt idx="243">
                  <c:v>11</c:v>
                </c:pt>
                <c:pt idx="24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3D85-47C2-92CB-D22E4A4C65D5}"/>
            </c:ext>
          </c:extLst>
        </c:ser>
        <c:ser>
          <c:idx val="14"/>
          <c:order val="14"/>
          <c:tx>
            <c:strRef>
              <c:f>List1!$P$1</c:f>
              <c:strCache>
                <c:ptCount val="1"/>
                <c:pt idx="0">
                  <c:v>18 85+</c:v>
                </c:pt>
              </c:strCache>
            </c:strRef>
          </c:tx>
          <c:spPr>
            <a:solidFill>
              <a:schemeClr val="accent3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P$5:$P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4</c:v>
                </c:pt>
                <c:pt idx="19">
                  <c:v>50</c:v>
                </c:pt>
                <c:pt idx="20">
                  <c:v>212</c:v>
                </c:pt>
                <c:pt idx="21">
                  <c:v>111</c:v>
                </c:pt>
                <c:pt idx="22">
                  <c:v>21</c:v>
                </c:pt>
                <c:pt idx="23">
                  <c:v>55</c:v>
                </c:pt>
                <c:pt idx="24">
                  <c:v>3</c:v>
                </c:pt>
                <c:pt idx="25">
                  <c:v>0</c:v>
                </c:pt>
                <c:pt idx="26">
                  <c:v>11</c:v>
                </c:pt>
                <c:pt idx="27">
                  <c:v>4</c:v>
                </c:pt>
                <c:pt idx="28">
                  <c:v>12</c:v>
                </c:pt>
                <c:pt idx="29">
                  <c:v>199</c:v>
                </c:pt>
                <c:pt idx="30">
                  <c:v>307</c:v>
                </c:pt>
                <c:pt idx="31">
                  <c:v>33</c:v>
                </c:pt>
                <c:pt idx="32">
                  <c:v>47</c:v>
                </c:pt>
                <c:pt idx="33">
                  <c:v>308</c:v>
                </c:pt>
                <c:pt idx="34">
                  <c:v>532</c:v>
                </c:pt>
                <c:pt idx="35">
                  <c:v>587</c:v>
                </c:pt>
                <c:pt idx="36">
                  <c:v>988</c:v>
                </c:pt>
                <c:pt idx="37">
                  <c:v>840</c:v>
                </c:pt>
                <c:pt idx="38">
                  <c:v>475</c:v>
                </c:pt>
                <c:pt idx="39">
                  <c:v>642</c:v>
                </c:pt>
                <c:pt idx="40">
                  <c:v>1628</c:v>
                </c:pt>
                <c:pt idx="41">
                  <c:v>2189</c:v>
                </c:pt>
                <c:pt idx="42">
                  <c:v>2770</c:v>
                </c:pt>
                <c:pt idx="43">
                  <c:v>3712</c:v>
                </c:pt>
                <c:pt idx="44">
                  <c:v>3462</c:v>
                </c:pt>
                <c:pt idx="45">
                  <c:v>848</c:v>
                </c:pt>
                <c:pt idx="46">
                  <c:v>447</c:v>
                </c:pt>
                <c:pt idx="47">
                  <c:v>2325</c:v>
                </c:pt>
                <c:pt idx="48">
                  <c:v>2494</c:v>
                </c:pt>
                <c:pt idx="49">
                  <c:v>2118</c:v>
                </c:pt>
                <c:pt idx="50">
                  <c:v>2008</c:v>
                </c:pt>
                <c:pt idx="51">
                  <c:v>1925</c:v>
                </c:pt>
                <c:pt idx="52">
                  <c:v>502</c:v>
                </c:pt>
                <c:pt idx="53">
                  <c:v>412</c:v>
                </c:pt>
                <c:pt idx="54">
                  <c:v>2049</c:v>
                </c:pt>
                <c:pt idx="55">
                  <c:v>2556</c:v>
                </c:pt>
                <c:pt idx="56">
                  <c:v>2105</c:v>
                </c:pt>
                <c:pt idx="57">
                  <c:v>1709</c:v>
                </c:pt>
                <c:pt idx="58">
                  <c:v>1684</c:v>
                </c:pt>
                <c:pt idx="59">
                  <c:v>202</c:v>
                </c:pt>
                <c:pt idx="60">
                  <c:v>236</c:v>
                </c:pt>
                <c:pt idx="61">
                  <c:v>1036</c:v>
                </c:pt>
                <c:pt idx="62">
                  <c:v>1060</c:v>
                </c:pt>
                <c:pt idx="63">
                  <c:v>1328</c:v>
                </c:pt>
                <c:pt idx="64">
                  <c:v>1533</c:v>
                </c:pt>
                <c:pt idx="65">
                  <c:v>1621</c:v>
                </c:pt>
                <c:pt idx="66">
                  <c:v>430</c:v>
                </c:pt>
                <c:pt idx="67">
                  <c:v>408</c:v>
                </c:pt>
                <c:pt idx="68">
                  <c:v>1639</c:v>
                </c:pt>
                <c:pt idx="69">
                  <c:v>2131</c:v>
                </c:pt>
                <c:pt idx="70">
                  <c:v>2114</c:v>
                </c:pt>
                <c:pt idx="71">
                  <c:v>2102</c:v>
                </c:pt>
                <c:pt idx="72">
                  <c:v>2229</c:v>
                </c:pt>
                <c:pt idx="73">
                  <c:v>448</c:v>
                </c:pt>
                <c:pt idx="74">
                  <c:v>333</c:v>
                </c:pt>
                <c:pt idx="75">
                  <c:v>2746</c:v>
                </c:pt>
                <c:pt idx="76">
                  <c:v>3235</c:v>
                </c:pt>
                <c:pt idx="77">
                  <c:v>2885</c:v>
                </c:pt>
                <c:pt idx="78">
                  <c:v>3299</c:v>
                </c:pt>
                <c:pt idx="79">
                  <c:v>3272</c:v>
                </c:pt>
                <c:pt idx="80">
                  <c:v>532</c:v>
                </c:pt>
                <c:pt idx="81">
                  <c:v>446</c:v>
                </c:pt>
                <c:pt idx="82">
                  <c:v>1946</c:v>
                </c:pt>
                <c:pt idx="83">
                  <c:v>1789</c:v>
                </c:pt>
                <c:pt idx="84">
                  <c:v>1701</c:v>
                </c:pt>
                <c:pt idx="85">
                  <c:v>1782</c:v>
                </c:pt>
                <c:pt idx="86">
                  <c:v>1820</c:v>
                </c:pt>
                <c:pt idx="87">
                  <c:v>495</c:v>
                </c:pt>
                <c:pt idx="88">
                  <c:v>319</c:v>
                </c:pt>
                <c:pt idx="89">
                  <c:v>1424</c:v>
                </c:pt>
                <c:pt idx="90">
                  <c:v>1208</c:v>
                </c:pt>
                <c:pt idx="91">
                  <c:v>1399</c:v>
                </c:pt>
                <c:pt idx="92">
                  <c:v>1569</c:v>
                </c:pt>
                <c:pt idx="93">
                  <c:v>437</c:v>
                </c:pt>
                <c:pt idx="94">
                  <c:v>317</c:v>
                </c:pt>
                <c:pt idx="95">
                  <c:v>273</c:v>
                </c:pt>
                <c:pt idx="96">
                  <c:v>225</c:v>
                </c:pt>
                <c:pt idx="97">
                  <c:v>987</c:v>
                </c:pt>
                <c:pt idx="98">
                  <c:v>834</c:v>
                </c:pt>
                <c:pt idx="99">
                  <c:v>891</c:v>
                </c:pt>
                <c:pt idx="100">
                  <c:v>815</c:v>
                </c:pt>
                <c:pt idx="101">
                  <c:v>317</c:v>
                </c:pt>
                <c:pt idx="102">
                  <c:v>178</c:v>
                </c:pt>
                <c:pt idx="103">
                  <c:v>484</c:v>
                </c:pt>
                <c:pt idx="104">
                  <c:v>597</c:v>
                </c:pt>
                <c:pt idx="105">
                  <c:v>544</c:v>
                </c:pt>
                <c:pt idx="106">
                  <c:v>805</c:v>
                </c:pt>
                <c:pt idx="107">
                  <c:v>770</c:v>
                </c:pt>
                <c:pt idx="108">
                  <c:v>107</c:v>
                </c:pt>
                <c:pt idx="109">
                  <c:v>92</c:v>
                </c:pt>
                <c:pt idx="110">
                  <c:v>484</c:v>
                </c:pt>
                <c:pt idx="111">
                  <c:v>436</c:v>
                </c:pt>
                <c:pt idx="112">
                  <c:v>360</c:v>
                </c:pt>
                <c:pt idx="113">
                  <c:v>446</c:v>
                </c:pt>
                <c:pt idx="114">
                  <c:v>287</c:v>
                </c:pt>
                <c:pt idx="115">
                  <c:v>81</c:v>
                </c:pt>
                <c:pt idx="116">
                  <c:v>52</c:v>
                </c:pt>
                <c:pt idx="117">
                  <c:v>227</c:v>
                </c:pt>
                <c:pt idx="118">
                  <c:v>297</c:v>
                </c:pt>
                <c:pt idx="119">
                  <c:v>381</c:v>
                </c:pt>
                <c:pt idx="120">
                  <c:v>512</c:v>
                </c:pt>
                <c:pt idx="121">
                  <c:v>267</c:v>
                </c:pt>
                <c:pt idx="122">
                  <c:v>49</c:v>
                </c:pt>
                <c:pt idx="123">
                  <c:v>44</c:v>
                </c:pt>
                <c:pt idx="124">
                  <c:v>137</c:v>
                </c:pt>
                <c:pt idx="125">
                  <c:v>321</c:v>
                </c:pt>
                <c:pt idx="126">
                  <c:v>338</c:v>
                </c:pt>
                <c:pt idx="127">
                  <c:v>430</c:v>
                </c:pt>
                <c:pt idx="128">
                  <c:v>368</c:v>
                </c:pt>
                <c:pt idx="129">
                  <c:v>36</c:v>
                </c:pt>
                <c:pt idx="130">
                  <c:v>29</c:v>
                </c:pt>
                <c:pt idx="131">
                  <c:v>489</c:v>
                </c:pt>
                <c:pt idx="132">
                  <c:v>697</c:v>
                </c:pt>
                <c:pt idx="133">
                  <c:v>756</c:v>
                </c:pt>
                <c:pt idx="134">
                  <c:v>785</c:v>
                </c:pt>
                <c:pt idx="135">
                  <c:v>604</c:v>
                </c:pt>
                <c:pt idx="136">
                  <c:v>201</c:v>
                </c:pt>
                <c:pt idx="137">
                  <c:v>187</c:v>
                </c:pt>
                <c:pt idx="138">
                  <c:v>506</c:v>
                </c:pt>
                <c:pt idx="139">
                  <c:v>749</c:v>
                </c:pt>
                <c:pt idx="140">
                  <c:v>899</c:v>
                </c:pt>
                <c:pt idx="141">
                  <c:v>1182</c:v>
                </c:pt>
                <c:pt idx="142">
                  <c:v>776</c:v>
                </c:pt>
                <c:pt idx="143">
                  <c:v>166</c:v>
                </c:pt>
                <c:pt idx="144">
                  <c:v>115</c:v>
                </c:pt>
                <c:pt idx="145">
                  <c:v>937</c:v>
                </c:pt>
                <c:pt idx="146">
                  <c:v>1270</c:v>
                </c:pt>
                <c:pt idx="147">
                  <c:v>1163</c:v>
                </c:pt>
                <c:pt idx="148">
                  <c:v>1194</c:v>
                </c:pt>
                <c:pt idx="149">
                  <c:v>858</c:v>
                </c:pt>
                <c:pt idx="150">
                  <c:v>122</c:v>
                </c:pt>
                <c:pt idx="151">
                  <c:v>153</c:v>
                </c:pt>
                <c:pt idx="152">
                  <c:v>698</c:v>
                </c:pt>
                <c:pt idx="153">
                  <c:v>986</c:v>
                </c:pt>
                <c:pt idx="154">
                  <c:v>1361</c:v>
                </c:pt>
                <c:pt idx="155">
                  <c:v>1382</c:v>
                </c:pt>
                <c:pt idx="156">
                  <c:v>876</c:v>
                </c:pt>
                <c:pt idx="157">
                  <c:v>166</c:v>
                </c:pt>
                <c:pt idx="158">
                  <c:v>85</c:v>
                </c:pt>
                <c:pt idx="159">
                  <c:v>796</c:v>
                </c:pt>
                <c:pt idx="160">
                  <c:v>961</c:v>
                </c:pt>
                <c:pt idx="161">
                  <c:v>769</c:v>
                </c:pt>
                <c:pt idx="162">
                  <c:v>1379</c:v>
                </c:pt>
                <c:pt idx="163">
                  <c:v>1005</c:v>
                </c:pt>
                <c:pt idx="164">
                  <c:v>237</c:v>
                </c:pt>
                <c:pt idx="165">
                  <c:v>145</c:v>
                </c:pt>
                <c:pt idx="166">
                  <c:v>721</c:v>
                </c:pt>
                <c:pt idx="167">
                  <c:v>849</c:v>
                </c:pt>
                <c:pt idx="168">
                  <c:v>796</c:v>
                </c:pt>
                <c:pt idx="169">
                  <c:v>927</c:v>
                </c:pt>
                <c:pt idx="170">
                  <c:v>717</c:v>
                </c:pt>
                <c:pt idx="171">
                  <c:v>224</c:v>
                </c:pt>
                <c:pt idx="172">
                  <c:v>125</c:v>
                </c:pt>
                <c:pt idx="173">
                  <c:v>569</c:v>
                </c:pt>
                <c:pt idx="174">
                  <c:v>762</c:v>
                </c:pt>
                <c:pt idx="175">
                  <c:v>674</c:v>
                </c:pt>
                <c:pt idx="176">
                  <c:v>754</c:v>
                </c:pt>
                <c:pt idx="177">
                  <c:v>539</c:v>
                </c:pt>
                <c:pt idx="178">
                  <c:v>171</c:v>
                </c:pt>
                <c:pt idx="179">
                  <c:v>92</c:v>
                </c:pt>
                <c:pt idx="180">
                  <c:v>391</c:v>
                </c:pt>
                <c:pt idx="181">
                  <c:v>564</c:v>
                </c:pt>
                <c:pt idx="182">
                  <c:v>606</c:v>
                </c:pt>
                <c:pt idx="183">
                  <c:v>555</c:v>
                </c:pt>
                <c:pt idx="184">
                  <c:v>253</c:v>
                </c:pt>
                <c:pt idx="185">
                  <c:v>111</c:v>
                </c:pt>
                <c:pt idx="186">
                  <c:v>69</c:v>
                </c:pt>
                <c:pt idx="187">
                  <c:v>191</c:v>
                </c:pt>
                <c:pt idx="188">
                  <c:v>393</c:v>
                </c:pt>
                <c:pt idx="189">
                  <c:v>632</c:v>
                </c:pt>
                <c:pt idx="190">
                  <c:v>854</c:v>
                </c:pt>
                <c:pt idx="191">
                  <c:v>741</c:v>
                </c:pt>
                <c:pt idx="192">
                  <c:v>196</c:v>
                </c:pt>
                <c:pt idx="193">
                  <c:v>92</c:v>
                </c:pt>
                <c:pt idx="194">
                  <c:v>529</c:v>
                </c:pt>
                <c:pt idx="195">
                  <c:v>496</c:v>
                </c:pt>
                <c:pt idx="196">
                  <c:v>539</c:v>
                </c:pt>
                <c:pt idx="197">
                  <c:v>510</c:v>
                </c:pt>
                <c:pt idx="198">
                  <c:v>343</c:v>
                </c:pt>
                <c:pt idx="199">
                  <c:v>94</c:v>
                </c:pt>
                <c:pt idx="200">
                  <c:v>62</c:v>
                </c:pt>
                <c:pt idx="201">
                  <c:v>320</c:v>
                </c:pt>
                <c:pt idx="202">
                  <c:v>386</c:v>
                </c:pt>
                <c:pt idx="203">
                  <c:v>355</c:v>
                </c:pt>
                <c:pt idx="204">
                  <c:v>408</c:v>
                </c:pt>
                <c:pt idx="205">
                  <c:v>311</c:v>
                </c:pt>
                <c:pt idx="206">
                  <c:v>154</c:v>
                </c:pt>
                <c:pt idx="207">
                  <c:v>151</c:v>
                </c:pt>
                <c:pt idx="208">
                  <c:v>278</c:v>
                </c:pt>
                <c:pt idx="209">
                  <c:v>301</c:v>
                </c:pt>
                <c:pt idx="210">
                  <c:v>290</c:v>
                </c:pt>
                <c:pt idx="211">
                  <c:v>281</c:v>
                </c:pt>
                <c:pt idx="212">
                  <c:v>216</c:v>
                </c:pt>
                <c:pt idx="213">
                  <c:v>143</c:v>
                </c:pt>
                <c:pt idx="214">
                  <c:v>318</c:v>
                </c:pt>
                <c:pt idx="215">
                  <c:v>385</c:v>
                </c:pt>
                <c:pt idx="216">
                  <c:v>417</c:v>
                </c:pt>
                <c:pt idx="217">
                  <c:v>445</c:v>
                </c:pt>
                <c:pt idx="218">
                  <c:v>283</c:v>
                </c:pt>
                <c:pt idx="219">
                  <c:v>221</c:v>
                </c:pt>
                <c:pt idx="220">
                  <c:v>133</c:v>
                </c:pt>
                <c:pt idx="221">
                  <c:v>129</c:v>
                </c:pt>
                <c:pt idx="222">
                  <c:v>251</c:v>
                </c:pt>
                <c:pt idx="223">
                  <c:v>256</c:v>
                </c:pt>
                <c:pt idx="224">
                  <c:v>227</c:v>
                </c:pt>
                <c:pt idx="225">
                  <c:v>260</c:v>
                </c:pt>
                <c:pt idx="226">
                  <c:v>242</c:v>
                </c:pt>
                <c:pt idx="227">
                  <c:v>179</c:v>
                </c:pt>
                <c:pt idx="228">
                  <c:v>182</c:v>
                </c:pt>
                <c:pt idx="229">
                  <c:v>197</c:v>
                </c:pt>
                <c:pt idx="230">
                  <c:v>216</c:v>
                </c:pt>
                <c:pt idx="231">
                  <c:v>217</c:v>
                </c:pt>
                <c:pt idx="232">
                  <c:v>241</c:v>
                </c:pt>
                <c:pt idx="233">
                  <c:v>212</c:v>
                </c:pt>
                <c:pt idx="234">
                  <c:v>175</c:v>
                </c:pt>
                <c:pt idx="235">
                  <c:v>180</c:v>
                </c:pt>
                <c:pt idx="236">
                  <c:v>184</c:v>
                </c:pt>
                <c:pt idx="237">
                  <c:v>195</c:v>
                </c:pt>
                <c:pt idx="238">
                  <c:v>195</c:v>
                </c:pt>
                <c:pt idx="239">
                  <c:v>192</c:v>
                </c:pt>
                <c:pt idx="240">
                  <c:v>182</c:v>
                </c:pt>
                <c:pt idx="241">
                  <c:v>176</c:v>
                </c:pt>
                <c:pt idx="242">
                  <c:v>175</c:v>
                </c:pt>
                <c:pt idx="243">
                  <c:v>184</c:v>
                </c:pt>
                <c:pt idx="244">
                  <c:v>2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3D85-47C2-92CB-D22E4A4C65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831664431"/>
        <c:axId val="711924943"/>
      </c:barChart>
      <c:dateAx>
        <c:axId val="83166443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1924943"/>
        <c:crosses val="autoZero"/>
        <c:auto val="1"/>
        <c:lblOffset val="100"/>
        <c:baseTimeUnit val="days"/>
      </c:dateAx>
      <c:valAx>
        <c:axId val="7119249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316644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4072247296032108"/>
          <c:y val="3.3915582154437109E-2"/>
          <c:w val="5.2695597959187372E-2"/>
          <c:h val="0.891362418864909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4 15-19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B$5:$B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.1395362769073441E-6</c:v>
                </c:pt>
                <c:pt idx="19">
                  <c:v>4.2790725538146883E-6</c:v>
                </c:pt>
                <c:pt idx="20">
                  <c:v>1.0697681384536721E-5</c:v>
                </c:pt>
                <c:pt idx="21">
                  <c:v>1.2837217661444066E-5</c:v>
                </c:pt>
                <c:pt idx="22">
                  <c:v>1.9255826492166096E-5</c:v>
                </c:pt>
                <c:pt idx="23">
                  <c:v>2.3534899045980785E-5</c:v>
                </c:pt>
                <c:pt idx="24">
                  <c:v>2.3534899045980785E-5</c:v>
                </c:pt>
                <c:pt idx="25">
                  <c:v>2.3534899045980785E-5</c:v>
                </c:pt>
                <c:pt idx="26">
                  <c:v>3.4232580430517506E-5</c:v>
                </c:pt>
                <c:pt idx="27">
                  <c:v>4.706979809196157E-5</c:v>
                </c:pt>
                <c:pt idx="28">
                  <c:v>8.3441914799386419E-5</c:v>
                </c:pt>
                <c:pt idx="29">
                  <c:v>1.0697681384536721E-4</c:v>
                </c:pt>
                <c:pt idx="30">
                  <c:v>1.4976753938351409E-4</c:v>
                </c:pt>
                <c:pt idx="31">
                  <c:v>1.5404661193732877E-4</c:v>
                </c:pt>
                <c:pt idx="32">
                  <c:v>1.5832568449114347E-4</c:v>
                </c:pt>
                <c:pt idx="33">
                  <c:v>1.9255826492166098E-4</c:v>
                </c:pt>
                <c:pt idx="34">
                  <c:v>2.5460481695197397E-4</c:v>
                </c:pt>
                <c:pt idx="35">
                  <c:v>3.2520951408991633E-4</c:v>
                </c:pt>
                <c:pt idx="36">
                  <c:v>4.0651189261239537E-4</c:v>
                </c:pt>
                <c:pt idx="37">
                  <c:v>4.985119525194112E-4</c:v>
                </c:pt>
                <c:pt idx="38">
                  <c:v>5.0493056135013327E-4</c:v>
                </c:pt>
                <c:pt idx="39">
                  <c:v>5.2204685156539195E-4</c:v>
                </c:pt>
                <c:pt idx="40">
                  <c:v>5.9265154870333432E-4</c:v>
                </c:pt>
                <c:pt idx="41">
                  <c:v>6.8465160861035015E-4</c:v>
                </c:pt>
                <c:pt idx="42">
                  <c:v>7.3172140670231176E-4</c:v>
                </c:pt>
                <c:pt idx="43">
                  <c:v>8.0660517639406879E-4</c:v>
                </c:pt>
                <c:pt idx="44">
                  <c:v>8.7720987353201115E-4</c:v>
                </c:pt>
                <c:pt idx="45">
                  <c:v>8.8148894608582583E-4</c:v>
                </c:pt>
                <c:pt idx="46">
                  <c:v>8.8362848236273311E-4</c:v>
                </c:pt>
                <c:pt idx="47">
                  <c:v>9.1358199023943592E-4</c:v>
                </c:pt>
                <c:pt idx="48">
                  <c:v>9.7348900599284155E-4</c:v>
                </c:pt>
                <c:pt idx="49">
                  <c:v>1.037675094300062E-3</c:v>
                </c:pt>
                <c:pt idx="50">
                  <c:v>1.0697681384536722E-3</c:v>
                </c:pt>
                <c:pt idx="51">
                  <c:v>1.0826053561151161E-3</c:v>
                </c:pt>
                <c:pt idx="52">
                  <c:v>1.0826053561151161E-3</c:v>
                </c:pt>
                <c:pt idx="53">
                  <c:v>1.0826053561151161E-3</c:v>
                </c:pt>
                <c:pt idx="54">
                  <c:v>1.0954425737765602E-3</c:v>
                </c:pt>
                <c:pt idx="55">
                  <c:v>1.125396081653263E-3</c:v>
                </c:pt>
                <c:pt idx="56">
                  <c:v>1.1360937630377997E-3</c:v>
                </c:pt>
                <c:pt idx="57">
                  <c:v>1.1703263434683173E-3</c:v>
                </c:pt>
                <c:pt idx="58">
                  <c:v>1.1960007787912054E-3</c:v>
                </c:pt>
                <c:pt idx="59">
                  <c:v>1.1960007787912054E-3</c:v>
                </c:pt>
                <c:pt idx="60">
                  <c:v>1.1981403150681128E-3</c:v>
                </c:pt>
                <c:pt idx="61">
                  <c:v>1.2088379964526495E-3</c:v>
                </c:pt>
                <c:pt idx="62">
                  <c:v>1.2173961415602788E-3</c:v>
                </c:pt>
                <c:pt idx="63">
                  <c:v>1.2387915043293523E-3</c:v>
                </c:pt>
                <c:pt idx="64">
                  <c:v>1.2623264033753332E-3</c:v>
                </c:pt>
                <c:pt idx="65">
                  <c:v>1.2880008386982212E-3</c:v>
                </c:pt>
                <c:pt idx="66">
                  <c:v>1.2880008386982212E-3</c:v>
                </c:pt>
                <c:pt idx="67">
                  <c:v>1.2901403749751286E-3</c:v>
                </c:pt>
                <c:pt idx="68">
                  <c:v>1.3051171289134799E-3</c:v>
                </c:pt>
                <c:pt idx="69">
                  <c:v>1.3329311005132753E-3</c:v>
                </c:pt>
                <c:pt idx="70">
                  <c:v>1.3628846083899783E-3</c:v>
                </c:pt>
                <c:pt idx="71">
                  <c:v>1.4163730153126618E-3</c:v>
                </c:pt>
                <c:pt idx="72">
                  <c:v>1.4591637408508087E-3</c:v>
                </c:pt>
                <c:pt idx="73">
                  <c:v>1.4698614222353455E-3</c:v>
                </c:pt>
                <c:pt idx="74">
                  <c:v>1.4720009585122529E-3</c:v>
                </c:pt>
                <c:pt idx="75">
                  <c:v>1.5040940026658628E-3</c:v>
                </c:pt>
                <c:pt idx="76">
                  <c:v>1.5383265830963804E-3</c:v>
                </c:pt>
                <c:pt idx="77">
                  <c:v>1.5640010184192687E-3</c:v>
                </c:pt>
                <c:pt idx="78">
                  <c:v>1.6239080341726743E-3</c:v>
                </c:pt>
                <c:pt idx="79">
                  <c:v>1.8186058353712425E-3</c:v>
                </c:pt>
                <c:pt idx="80">
                  <c:v>1.9084663590013509E-3</c:v>
                </c:pt>
                <c:pt idx="81">
                  <c:v>1.9127454315551657E-3</c:v>
                </c:pt>
                <c:pt idx="82">
                  <c:v>1.9491175482625905E-3</c:v>
                </c:pt>
                <c:pt idx="83">
                  <c:v>1.9747919835854787E-3</c:v>
                </c:pt>
                <c:pt idx="84">
                  <c:v>2.0047454914621813E-3</c:v>
                </c:pt>
                <c:pt idx="85">
                  <c:v>2.0496757532772357E-3</c:v>
                </c:pt>
                <c:pt idx="86">
                  <c:v>2.0967455513691974E-3</c:v>
                </c:pt>
                <c:pt idx="87">
                  <c:v>2.1181409141382708E-3</c:v>
                </c:pt>
                <c:pt idx="88">
                  <c:v>2.1266990592459E-3</c:v>
                </c:pt>
                <c:pt idx="89">
                  <c:v>2.1652107122302321E-3</c:v>
                </c:pt>
                <c:pt idx="90">
                  <c:v>2.3813038761978742E-3</c:v>
                </c:pt>
                <c:pt idx="91">
                  <c:v>2.4604667184434459E-3</c:v>
                </c:pt>
                <c:pt idx="92">
                  <c:v>2.541769096965925E-3</c:v>
                </c:pt>
                <c:pt idx="93">
                  <c:v>2.5909784313347937E-3</c:v>
                </c:pt>
                <c:pt idx="94">
                  <c:v>2.6294900843191259E-3</c:v>
                </c:pt>
                <c:pt idx="95">
                  <c:v>2.6551645196420141E-3</c:v>
                </c:pt>
                <c:pt idx="96">
                  <c:v>2.6915366363494389E-3</c:v>
                </c:pt>
                <c:pt idx="97">
                  <c:v>2.8840949012711001E-3</c:v>
                </c:pt>
                <c:pt idx="98">
                  <c:v>3.0381415132084287E-3</c:v>
                </c:pt>
                <c:pt idx="99">
                  <c:v>3.187909052591943E-3</c:v>
                </c:pt>
                <c:pt idx="100">
                  <c:v>3.4403743332670094E-3</c:v>
                </c:pt>
                <c:pt idx="101">
                  <c:v>3.5580488284969133E-3</c:v>
                </c:pt>
                <c:pt idx="102">
                  <c:v>3.6115372354195967E-3</c:v>
                </c:pt>
                <c:pt idx="103">
                  <c:v>3.7313512669264084E-3</c:v>
                </c:pt>
                <c:pt idx="104">
                  <c:v>3.8212117905565167E-3</c:v>
                </c:pt>
                <c:pt idx="105">
                  <c:v>3.9046537053559031E-3</c:v>
                </c:pt>
                <c:pt idx="106">
                  <c:v>4.0287468094165292E-3</c:v>
                </c:pt>
                <c:pt idx="107">
                  <c:v>4.3047469891375765E-3</c:v>
                </c:pt>
                <c:pt idx="108">
                  <c:v>4.3518167872295382E-3</c:v>
                </c:pt>
                <c:pt idx="109">
                  <c:v>4.3710726137217038E-3</c:v>
                </c:pt>
                <c:pt idx="110">
                  <c:v>4.4566540647979977E-3</c:v>
                </c:pt>
                <c:pt idx="111">
                  <c:v>4.5358169070435694E-3</c:v>
                </c:pt>
                <c:pt idx="112">
                  <c:v>4.6256774306736781E-3</c:v>
                </c:pt>
                <c:pt idx="113">
                  <c:v>4.6877239827039906E-3</c:v>
                </c:pt>
                <c:pt idx="114">
                  <c:v>4.8118170867646167E-3</c:v>
                </c:pt>
                <c:pt idx="115">
                  <c:v>4.8310729132567832E-3</c:v>
                </c:pt>
                <c:pt idx="116">
                  <c:v>4.8546078123027636E-3</c:v>
                </c:pt>
                <c:pt idx="117">
                  <c:v>4.9016776103947253E-3</c:v>
                </c:pt>
                <c:pt idx="118">
                  <c:v>4.9530264810405018E-3</c:v>
                </c:pt>
                <c:pt idx="119">
                  <c:v>5.0279102507322588E-3</c:v>
                </c:pt>
                <c:pt idx="120">
                  <c:v>5.0813986576549426E-3</c:v>
                </c:pt>
                <c:pt idx="121">
                  <c:v>5.158421963623607E-3</c:v>
                </c:pt>
                <c:pt idx="122">
                  <c:v>5.1840963989464948E-3</c:v>
                </c:pt>
                <c:pt idx="123">
                  <c:v>5.2076312979924761E-3</c:v>
                </c:pt>
                <c:pt idx="124">
                  <c:v>5.2461429509768082E-3</c:v>
                </c:pt>
                <c:pt idx="125">
                  <c:v>5.2846546039611404E-3</c:v>
                </c:pt>
                <c:pt idx="126">
                  <c:v>5.3424220834376382E-3</c:v>
                </c:pt>
                <c:pt idx="127">
                  <c:v>5.3830732726988777E-3</c:v>
                </c:pt>
                <c:pt idx="128">
                  <c:v>5.4793524051597086E-3</c:v>
                </c:pt>
                <c:pt idx="129">
                  <c:v>5.481491941436616E-3</c:v>
                </c:pt>
                <c:pt idx="130">
                  <c:v>5.4836314777135233E-3</c:v>
                </c:pt>
                <c:pt idx="131">
                  <c:v>5.5264222032516703E-3</c:v>
                </c:pt>
                <c:pt idx="132">
                  <c:v>5.5542361748514655E-3</c:v>
                </c:pt>
                <c:pt idx="133">
                  <c:v>5.5970269003896124E-3</c:v>
                </c:pt>
                <c:pt idx="134">
                  <c:v>5.6440966984815742E-3</c:v>
                </c:pt>
                <c:pt idx="135">
                  <c:v>5.6954455691273498E-3</c:v>
                </c:pt>
                <c:pt idx="136">
                  <c:v>5.7147013956195163E-3</c:v>
                </c:pt>
                <c:pt idx="137">
                  <c:v>5.7211200044502385E-3</c:v>
                </c:pt>
                <c:pt idx="138">
                  <c:v>5.7574921211576632E-3</c:v>
                </c:pt>
                <c:pt idx="139">
                  <c:v>5.8216782094648832E-3</c:v>
                </c:pt>
                <c:pt idx="140">
                  <c:v>5.8815852252182893E-3</c:v>
                </c:pt>
                <c:pt idx="141">
                  <c:v>6.0078178655558227E-3</c:v>
                </c:pt>
                <c:pt idx="142">
                  <c:v>6.1511667961086144E-3</c:v>
                </c:pt>
                <c:pt idx="143">
                  <c:v>6.2025156667543909E-3</c:v>
                </c:pt>
                <c:pt idx="144">
                  <c:v>6.2453063922925378E-3</c:v>
                </c:pt>
                <c:pt idx="145">
                  <c:v>6.3950739316760517E-3</c:v>
                </c:pt>
                <c:pt idx="146">
                  <c:v>6.5405623985057507E-3</c:v>
                </c:pt>
                <c:pt idx="147">
                  <c:v>6.6753531839509137E-3</c:v>
                </c:pt>
                <c:pt idx="148">
                  <c:v>6.9000044930261854E-3</c:v>
                </c:pt>
                <c:pt idx="149">
                  <c:v>7.1267953383783635E-3</c:v>
                </c:pt>
                <c:pt idx="150">
                  <c:v>7.2187953982853796E-3</c:v>
                </c:pt>
                <c:pt idx="151">
                  <c:v>7.2787024140387848E-3</c:v>
                </c:pt>
                <c:pt idx="152">
                  <c:v>7.554702593759832E-3</c:v>
                </c:pt>
                <c:pt idx="153">
                  <c:v>7.732284104743142E-3</c:v>
                </c:pt>
                <c:pt idx="154">
                  <c:v>8.0425168648947075E-3</c:v>
                </c:pt>
                <c:pt idx="155">
                  <c:v>8.4040984956920486E-3</c:v>
                </c:pt>
                <c:pt idx="156">
                  <c:v>8.8362848236273311E-3</c:v>
                </c:pt>
                <c:pt idx="157">
                  <c:v>9.0074477257799188E-3</c:v>
                </c:pt>
                <c:pt idx="158">
                  <c:v>9.1165640759021931E-3</c:v>
                </c:pt>
                <c:pt idx="159">
                  <c:v>9.5102387508531443E-3</c:v>
                </c:pt>
                <c:pt idx="160">
                  <c:v>9.816192438450895E-3</c:v>
                </c:pt>
                <c:pt idx="161">
                  <c:v>1.0164936851586792E-2</c:v>
                </c:pt>
                <c:pt idx="162">
                  <c:v>1.0751169791459405E-2</c:v>
                </c:pt>
                <c:pt idx="163">
                  <c:v>1.1470053980500272E-2</c:v>
                </c:pt>
                <c:pt idx="164">
                  <c:v>1.1915077526096999E-2</c:v>
                </c:pt>
                <c:pt idx="165">
                  <c:v>1.2379356898185893E-2</c:v>
                </c:pt>
                <c:pt idx="166">
                  <c:v>1.3038334071473355E-2</c:v>
                </c:pt>
                <c:pt idx="167">
                  <c:v>1.3684474027099373E-2</c:v>
                </c:pt>
                <c:pt idx="168">
                  <c:v>1.4454707086786017E-2</c:v>
                </c:pt>
                <c:pt idx="169">
                  <c:v>1.5132940086565645E-2</c:v>
                </c:pt>
                <c:pt idx="170">
                  <c:v>1.5986615061051677E-2</c:v>
                </c:pt>
                <c:pt idx="171">
                  <c:v>1.6523638666555419E-2</c:v>
                </c:pt>
                <c:pt idx="172">
                  <c:v>1.6985778502367405E-2</c:v>
                </c:pt>
                <c:pt idx="173">
                  <c:v>1.7668290574700849E-2</c:v>
                </c:pt>
                <c:pt idx="174">
                  <c:v>1.8378616618634085E-2</c:v>
                </c:pt>
                <c:pt idx="175">
                  <c:v>1.9007640284044846E-2</c:v>
                </c:pt>
                <c:pt idx="176">
                  <c:v>1.982494314182345E-2</c:v>
                </c:pt>
                <c:pt idx="177">
                  <c:v>2.0565222693633391E-2</c:v>
                </c:pt>
                <c:pt idx="178">
                  <c:v>2.1110804444244766E-2</c:v>
                </c:pt>
                <c:pt idx="179">
                  <c:v>2.1600758251656547E-2</c:v>
                </c:pt>
                <c:pt idx="180">
                  <c:v>2.2311084295589784E-2</c:v>
                </c:pt>
                <c:pt idx="181">
                  <c:v>2.2976480077707969E-2</c:v>
                </c:pt>
                <c:pt idx="182">
                  <c:v>2.3639736323549244E-2</c:v>
                </c:pt>
                <c:pt idx="183">
                  <c:v>2.4427085673451147E-2</c:v>
                </c:pt>
                <c:pt idx="184">
                  <c:v>2.5158807080153459E-2</c:v>
                </c:pt>
                <c:pt idx="185">
                  <c:v>2.5663737641503592E-2</c:v>
                </c:pt>
                <c:pt idx="186">
                  <c:v>2.6140854231253931E-2</c:v>
                </c:pt>
                <c:pt idx="187">
                  <c:v>2.6637226647496435E-2</c:v>
                </c:pt>
                <c:pt idx="188">
                  <c:v>2.7279087530568638E-2</c:v>
                </c:pt>
                <c:pt idx="189">
                  <c:v>2.8015088009824763E-2</c:v>
                </c:pt>
                <c:pt idx="190">
                  <c:v>2.871899544492728E-2</c:v>
                </c:pt>
                <c:pt idx="191">
                  <c:v>2.9906438078610858E-2</c:v>
                </c:pt>
                <c:pt idx="192">
                  <c:v>3.0464857046883672E-2</c:v>
                </c:pt>
                <c:pt idx="193">
                  <c:v>3.0916299201311122E-2</c:v>
                </c:pt>
                <c:pt idx="194">
                  <c:v>3.1553881011829508E-2</c:v>
                </c:pt>
                <c:pt idx="195">
                  <c:v>3.2274904737147288E-2</c:v>
                </c:pt>
                <c:pt idx="196">
                  <c:v>3.3239835598032501E-2</c:v>
                </c:pt>
                <c:pt idx="197">
                  <c:v>3.4181231559871732E-2</c:v>
                </c:pt>
                <c:pt idx="198">
                  <c:v>3.6489791202654755E-2</c:v>
                </c:pt>
                <c:pt idx="199">
                  <c:v>3.8152210889811758E-2</c:v>
                </c:pt>
                <c:pt idx="200">
                  <c:v>4.0578445027824692E-2</c:v>
                </c:pt>
                <c:pt idx="201">
                  <c:v>4.4489517342011314E-2</c:v>
                </c:pt>
                <c:pt idx="202">
                  <c:v>5.0993707623809642E-2</c:v>
                </c:pt>
                <c:pt idx="203">
                  <c:v>5.6601432205583793E-2</c:v>
                </c:pt>
                <c:pt idx="204">
                  <c:v>5.9387108438117155E-2</c:v>
                </c:pt>
                <c:pt idx="205">
                  <c:v>6.2166366061819793E-2</c:v>
                </c:pt>
                <c:pt idx="206">
                  <c:v>6.4943484149245528E-2</c:v>
                </c:pt>
                <c:pt idx="207">
                  <c:v>6.7720602236671257E-2</c:v>
                </c:pt>
                <c:pt idx="208">
                  <c:v>7.0499859860373895E-2</c:v>
                </c:pt>
                <c:pt idx="209">
                  <c:v>7.3281257020353444E-2</c:v>
                </c:pt>
                <c:pt idx="210">
                  <c:v>7.6064793716609902E-2</c:v>
                </c:pt>
                <c:pt idx="211">
                  <c:v>7.884833041286636E-2</c:v>
                </c:pt>
                <c:pt idx="212">
                  <c:v>8.1629727572845909E-2</c:v>
                </c:pt>
                <c:pt idx="213">
                  <c:v>8.4406845660271637E-2</c:v>
                </c:pt>
                <c:pt idx="214">
                  <c:v>9.0656431125117981E-2</c:v>
                </c:pt>
                <c:pt idx="215">
                  <c:v>9.6912435198795055E-2</c:v>
                </c:pt>
                <c:pt idx="216">
                  <c:v>0.10317057880874904</c:v>
                </c:pt>
                <c:pt idx="217">
                  <c:v>0.10942872241870302</c:v>
                </c:pt>
                <c:pt idx="218">
                  <c:v>0.11568900556493392</c:v>
                </c:pt>
                <c:pt idx="219">
                  <c:v>0.12195998639254933</c:v>
                </c:pt>
                <c:pt idx="220">
                  <c:v>0.1282095718573957</c:v>
                </c:pt>
                <c:pt idx="221">
                  <c:v>0.13445915732224203</c:v>
                </c:pt>
                <c:pt idx="222">
                  <c:v>0.14071516139591911</c:v>
                </c:pt>
                <c:pt idx="223">
                  <c:v>0.14697972361470382</c:v>
                </c:pt>
                <c:pt idx="224">
                  <c:v>0.15324000676093472</c:v>
                </c:pt>
                <c:pt idx="225">
                  <c:v>0.16054652314657328</c:v>
                </c:pt>
                <c:pt idx="226">
                  <c:v>0.16785945814104258</c:v>
                </c:pt>
                <c:pt idx="227">
                  <c:v>0.17515313730901974</c:v>
                </c:pt>
                <c:pt idx="228">
                  <c:v>0.18244467694071995</c:v>
                </c:pt>
                <c:pt idx="229">
                  <c:v>0.18974691425380472</c:v>
                </c:pt>
                <c:pt idx="230">
                  <c:v>0.19704273295805877</c:v>
                </c:pt>
                <c:pt idx="231">
                  <c:v>0.20434069119858972</c:v>
                </c:pt>
                <c:pt idx="232">
                  <c:v>0.21164292851167449</c:v>
                </c:pt>
                <c:pt idx="233">
                  <c:v>0.21893660767965162</c:v>
                </c:pt>
                <c:pt idx="234">
                  <c:v>0.22623028684762875</c:v>
                </c:pt>
                <c:pt idx="235">
                  <c:v>0.2335239660156059</c:v>
                </c:pt>
                <c:pt idx="236">
                  <c:v>0.24081978471985993</c:v>
                </c:pt>
                <c:pt idx="237">
                  <c:v>0.24811560342411398</c:v>
                </c:pt>
                <c:pt idx="238">
                  <c:v>0.25540714305581419</c:v>
                </c:pt>
                <c:pt idx="239">
                  <c:v>0.26269868268751445</c:v>
                </c:pt>
                <c:pt idx="240">
                  <c:v>0.2699945013917685</c:v>
                </c:pt>
                <c:pt idx="241">
                  <c:v>0.27728604102346871</c:v>
                </c:pt>
                <c:pt idx="242">
                  <c:v>0.28457972019144584</c:v>
                </c:pt>
                <c:pt idx="243">
                  <c:v>0.29187339935942297</c:v>
                </c:pt>
                <c:pt idx="244">
                  <c:v>0.299169218063677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27A-4123-86A8-89323E6F14AF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5 20-24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C$5:$C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4.8191126005738768E-5</c:v>
                </c:pt>
                <c:pt idx="19">
                  <c:v>1.8071672252152038E-4</c:v>
                </c:pt>
                <c:pt idx="20">
                  <c:v>3.3332195487302649E-4</c:v>
                </c:pt>
                <c:pt idx="21">
                  <c:v>4.8391922364096016E-4</c:v>
                </c:pt>
                <c:pt idx="22">
                  <c:v>5.9636518432101728E-4</c:v>
                </c:pt>
                <c:pt idx="23">
                  <c:v>6.5058020107747346E-4</c:v>
                </c:pt>
                <c:pt idx="24">
                  <c:v>6.9877132708321224E-4</c:v>
                </c:pt>
                <c:pt idx="25">
                  <c:v>7.5499430742324077E-4</c:v>
                </c:pt>
                <c:pt idx="26">
                  <c:v>9.1763935769260908E-4</c:v>
                </c:pt>
                <c:pt idx="27">
                  <c:v>1.1164277524662815E-3</c:v>
                </c:pt>
                <c:pt idx="28">
                  <c:v>1.3252559651578163E-3</c:v>
                </c:pt>
                <c:pt idx="29">
                  <c:v>1.646530138529408E-3</c:v>
                </c:pt>
                <c:pt idx="30">
                  <c:v>2.0481228552438977E-3</c:v>
                </c:pt>
                <c:pt idx="31">
                  <c:v>2.102337872000354E-3</c:v>
                </c:pt>
                <c:pt idx="32">
                  <c:v>2.1726165974253896E-3</c:v>
                </c:pt>
                <c:pt idx="33">
                  <c:v>2.6906712019870815E-3</c:v>
                </c:pt>
                <c:pt idx="34">
                  <c:v>3.3091239857273957E-3</c:v>
                </c:pt>
                <c:pt idx="35">
                  <c:v>3.8854095342126882E-3</c:v>
                </c:pt>
                <c:pt idx="36">
                  <c:v>4.6062684607151979E-3</c:v>
                </c:pt>
                <c:pt idx="37">
                  <c:v>5.194601790701925E-3</c:v>
                </c:pt>
                <c:pt idx="38">
                  <c:v>5.264880516126961E-3</c:v>
                </c:pt>
                <c:pt idx="39">
                  <c:v>5.3512229502205759E-3</c:v>
                </c:pt>
                <c:pt idx="40">
                  <c:v>5.9094368264537168E-3</c:v>
                </c:pt>
                <c:pt idx="41">
                  <c:v>6.2889419437489099E-3</c:v>
                </c:pt>
                <c:pt idx="42">
                  <c:v>6.6624231702933851E-3</c:v>
                </c:pt>
                <c:pt idx="43">
                  <c:v>7.0359043968378603E-3</c:v>
                </c:pt>
                <c:pt idx="44">
                  <c:v>7.4314732228016331E-3</c:v>
                </c:pt>
                <c:pt idx="45">
                  <c:v>7.4977360210595236E-3</c:v>
                </c:pt>
                <c:pt idx="46">
                  <c:v>7.5057678753938139E-3</c:v>
                </c:pt>
                <c:pt idx="47">
                  <c:v>7.7748349955925221E-3</c:v>
                </c:pt>
                <c:pt idx="48">
                  <c:v>8.1001250961312589E-3</c:v>
                </c:pt>
                <c:pt idx="49">
                  <c:v>8.3350568354092353E-3</c:v>
                </c:pt>
                <c:pt idx="50">
                  <c:v>8.5539248660186327E-3</c:v>
                </c:pt>
                <c:pt idx="51">
                  <c:v>8.7446814064580138E-3</c:v>
                </c:pt>
                <c:pt idx="52">
                  <c:v>8.7486973336251602E-3</c:v>
                </c:pt>
                <c:pt idx="53">
                  <c:v>8.7567291879594496E-3</c:v>
                </c:pt>
                <c:pt idx="54">
                  <c:v>8.9555175827331218E-3</c:v>
                </c:pt>
                <c:pt idx="55">
                  <c:v>9.1141467058353451E-3</c:v>
                </c:pt>
                <c:pt idx="56">
                  <c:v>9.2526961931018448E-3</c:v>
                </c:pt>
                <c:pt idx="57">
                  <c:v>9.433412915623364E-3</c:v>
                </c:pt>
                <c:pt idx="58">
                  <c:v>9.573970366473436E-3</c:v>
                </c:pt>
                <c:pt idx="59">
                  <c:v>9.5779862936405807E-3</c:v>
                </c:pt>
                <c:pt idx="60">
                  <c:v>9.5820022208077255E-3</c:v>
                </c:pt>
                <c:pt idx="61">
                  <c:v>9.6743685456520592E-3</c:v>
                </c:pt>
                <c:pt idx="62">
                  <c:v>9.7446472710770934E-3</c:v>
                </c:pt>
                <c:pt idx="63">
                  <c:v>9.8470534138392889E-3</c:v>
                </c:pt>
                <c:pt idx="64">
                  <c:v>9.9554834473522015E-3</c:v>
                </c:pt>
                <c:pt idx="65">
                  <c:v>1.0098048861785844E-2</c:v>
                </c:pt>
                <c:pt idx="66">
                  <c:v>1.0116120534037997E-2</c:v>
                </c:pt>
                <c:pt idx="67">
                  <c:v>1.0126160351955859E-2</c:v>
                </c:pt>
                <c:pt idx="68">
                  <c:v>1.0242622239803061E-2</c:v>
                </c:pt>
                <c:pt idx="69">
                  <c:v>1.0371131909151699E-2</c:v>
                </c:pt>
                <c:pt idx="70">
                  <c:v>1.0569920303925371E-2</c:v>
                </c:pt>
                <c:pt idx="71">
                  <c:v>1.0808867970370492E-2</c:v>
                </c:pt>
                <c:pt idx="72">
                  <c:v>1.1063879345484192E-2</c:v>
                </c:pt>
                <c:pt idx="73">
                  <c:v>1.108596694490349E-2</c:v>
                </c:pt>
                <c:pt idx="74">
                  <c:v>1.1108054544322787E-2</c:v>
                </c:pt>
                <c:pt idx="75">
                  <c:v>1.1359049992269343E-2</c:v>
                </c:pt>
                <c:pt idx="76">
                  <c:v>1.1638156930385913E-2</c:v>
                </c:pt>
                <c:pt idx="77">
                  <c:v>1.1951399249423214E-2</c:v>
                </c:pt>
                <c:pt idx="78">
                  <c:v>1.2272673422794807E-2</c:v>
                </c:pt>
                <c:pt idx="79">
                  <c:v>1.2674266139509296E-2</c:v>
                </c:pt>
                <c:pt idx="80">
                  <c:v>1.2724465229098607E-2</c:v>
                </c:pt>
                <c:pt idx="81">
                  <c:v>1.275056875568505E-2</c:v>
                </c:pt>
                <c:pt idx="82">
                  <c:v>1.3027667730218047E-2</c:v>
                </c:pt>
                <c:pt idx="83">
                  <c:v>1.3362997648674647E-2</c:v>
                </c:pt>
                <c:pt idx="84">
                  <c:v>1.3656160331876225E-2</c:v>
                </c:pt>
                <c:pt idx="85">
                  <c:v>1.3967394687329954E-2</c:v>
                </c:pt>
                <c:pt idx="86">
                  <c:v>1.4389067039880169E-2</c:v>
                </c:pt>
                <c:pt idx="87">
                  <c:v>1.4477417437557356E-2</c:v>
                </c:pt>
                <c:pt idx="88">
                  <c:v>1.4573799689568833E-2</c:v>
                </c:pt>
                <c:pt idx="89">
                  <c:v>1.4973384442699751E-2</c:v>
                </c:pt>
                <c:pt idx="90">
                  <c:v>1.5487423120094298E-2</c:v>
                </c:pt>
                <c:pt idx="91">
                  <c:v>1.6270528917687554E-2</c:v>
                </c:pt>
                <c:pt idx="92">
                  <c:v>1.7143993076541568E-2</c:v>
                </c:pt>
                <c:pt idx="93">
                  <c:v>1.7364869070734538E-2</c:v>
                </c:pt>
                <c:pt idx="94">
                  <c:v>1.7666063608270405E-2</c:v>
                </c:pt>
                <c:pt idx="95">
                  <c:v>1.7838748476457635E-2</c:v>
                </c:pt>
                <c:pt idx="96">
                  <c:v>1.7985329818058424E-2</c:v>
                </c:pt>
                <c:pt idx="97">
                  <c:v>1.9095733679773987E-2</c:v>
                </c:pt>
                <c:pt idx="98">
                  <c:v>1.9710170536347157E-2</c:v>
                </c:pt>
                <c:pt idx="99">
                  <c:v>2.044106928076753E-2</c:v>
                </c:pt>
                <c:pt idx="100">
                  <c:v>2.1288429913035103E-2</c:v>
                </c:pt>
                <c:pt idx="101">
                  <c:v>2.1627775758658846E-2</c:v>
                </c:pt>
                <c:pt idx="102">
                  <c:v>2.1838611934933954E-2</c:v>
                </c:pt>
                <c:pt idx="103">
                  <c:v>2.2366706357413509E-2</c:v>
                </c:pt>
                <c:pt idx="104">
                  <c:v>2.2944999869482372E-2</c:v>
                </c:pt>
                <c:pt idx="105">
                  <c:v>2.3487150037046933E-2</c:v>
                </c:pt>
                <c:pt idx="106">
                  <c:v>2.4031308168195067E-2</c:v>
                </c:pt>
                <c:pt idx="107">
                  <c:v>2.470598393227541E-2</c:v>
                </c:pt>
                <c:pt idx="108">
                  <c:v>2.4940915671553387E-2</c:v>
                </c:pt>
                <c:pt idx="109">
                  <c:v>2.5043321814315581E-2</c:v>
                </c:pt>
                <c:pt idx="110">
                  <c:v>2.5412787113692912E-2</c:v>
                </c:pt>
                <c:pt idx="111">
                  <c:v>2.5808355939656684E-2</c:v>
                </c:pt>
                <c:pt idx="112">
                  <c:v>2.6274203491045492E-2</c:v>
                </c:pt>
                <c:pt idx="113">
                  <c:v>2.684446514878007E-2</c:v>
                </c:pt>
                <c:pt idx="114">
                  <c:v>2.7350471971840325E-2</c:v>
                </c:pt>
                <c:pt idx="115">
                  <c:v>2.755930018453186E-2</c:v>
                </c:pt>
                <c:pt idx="116">
                  <c:v>2.7717929307634084E-2</c:v>
                </c:pt>
                <c:pt idx="117">
                  <c:v>2.7896638066572031E-2</c:v>
                </c:pt>
                <c:pt idx="118">
                  <c:v>2.8153657405269306E-2</c:v>
                </c:pt>
                <c:pt idx="119">
                  <c:v>2.8490995287309476E-2</c:v>
                </c:pt>
                <c:pt idx="120">
                  <c:v>2.8928731348528271E-2</c:v>
                </c:pt>
                <c:pt idx="121">
                  <c:v>2.9235949776814856E-2</c:v>
                </c:pt>
                <c:pt idx="122">
                  <c:v>2.9308236465823461E-2</c:v>
                </c:pt>
                <c:pt idx="123">
                  <c:v>2.9362451482579918E-2</c:v>
                </c:pt>
                <c:pt idx="124">
                  <c:v>2.9533128387183576E-2</c:v>
                </c:pt>
                <c:pt idx="125">
                  <c:v>2.9679709728784365E-2</c:v>
                </c:pt>
                <c:pt idx="126">
                  <c:v>2.984837866980445E-2</c:v>
                </c:pt>
                <c:pt idx="127">
                  <c:v>3.0047167064578124E-2</c:v>
                </c:pt>
                <c:pt idx="128">
                  <c:v>3.0310210294026113E-2</c:v>
                </c:pt>
                <c:pt idx="129">
                  <c:v>3.0366433274366143E-2</c:v>
                </c:pt>
                <c:pt idx="130">
                  <c:v>3.0392536800952587E-2</c:v>
                </c:pt>
                <c:pt idx="131">
                  <c:v>3.0549157960471238E-2</c:v>
                </c:pt>
                <c:pt idx="132">
                  <c:v>3.0707787083573461E-2</c:v>
                </c:pt>
                <c:pt idx="133">
                  <c:v>3.084031268008924E-2</c:v>
                </c:pt>
                <c:pt idx="134">
                  <c:v>3.1067212565032927E-2</c:v>
                </c:pt>
                <c:pt idx="135">
                  <c:v>3.1314192085812341E-2</c:v>
                </c:pt>
                <c:pt idx="136">
                  <c:v>3.1442701755160979E-2</c:v>
                </c:pt>
                <c:pt idx="137">
                  <c:v>3.1478845099665281E-2</c:v>
                </c:pt>
                <c:pt idx="138">
                  <c:v>3.1613378659764636E-2</c:v>
                </c:pt>
                <c:pt idx="139">
                  <c:v>3.1846302435459037E-2</c:v>
                </c:pt>
                <c:pt idx="140">
                  <c:v>3.2159544754496339E-2</c:v>
                </c:pt>
                <c:pt idx="141">
                  <c:v>3.2759925865984502E-2</c:v>
                </c:pt>
                <c:pt idx="142">
                  <c:v>3.3452673302317E-2</c:v>
                </c:pt>
                <c:pt idx="143">
                  <c:v>3.373579616760071E-2</c:v>
                </c:pt>
                <c:pt idx="144">
                  <c:v>3.3952656234626538E-2</c:v>
                </c:pt>
                <c:pt idx="145">
                  <c:v>3.4540989564613267E-2</c:v>
                </c:pt>
                <c:pt idx="146">
                  <c:v>3.5147394566852147E-2</c:v>
                </c:pt>
                <c:pt idx="147">
                  <c:v>3.5779903095677468E-2</c:v>
                </c:pt>
                <c:pt idx="148">
                  <c:v>3.6799948596132268E-2</c:v>
                </c:pt>
                <c:pt idx="149">
                  <c:v>3.7870193186176383E-2</c:v>
                </c:pt>
                <c:pt idx="150">
                  <c:v>3.8307929247395178E-2</c:v>
                </c:pt>
                <c:pt idx="151">
                  <c:v>3.8769760871616842E-2</c:v>
                </c:pt>
                <c:pt idx="152">
                  <c:v>3.9866108988247398E-2</c:v>
                </c:pt>
                <c:pt idx="153">
                  <c:v>4.0848003180614323E-2</c:v>
                </c:pt>
                <c:pt idx="154">
                  <c:v>4.1829897372981255E-2</c:v>
                </c:pt>
                <c:pt idx="155">
                  <c:v>4.3040699413875443E-2</c:v>
                </c:pt>
                <c:pt idx="156">
                  <c:v>4.4861922384175648E-2</c:v>
                </c:pt>
                <c:pt idx="157">
                  <c:v>4.5345841607816614E-2</c:v>
                </c:pt>
                <c:pt idx="158">
                  <c:v>4.5600852982930311E-2</c:v>
                </c:pt>
                <c:pt idx="159">
                  <c:v>4.6805631133073781E-2</c:v>
                </c:pt>
                <c:pt idx="160">
                  <c:v>4.7922058885540061E-2</c:v>
                </c:pt>
                <c:pt idx="161">
                  <c:v>4.8891905296405559E-2</c:v>
                </c:pt>
                <c:pt idx="162">
                  <c:v>5.0255312569651246E-2</c:v>
                </c:pt>
                <c:pt idx="163">
                  <c:v>5.2074527576367886E-2</c:v>
                </c:pt>
                <c:pt idx="164">
                  <c:v>5.2962047480306911E-2</c:v>
                </c:pt>
                <c:pt idx="165">
                  <c:v>5.3843543493495218E-2</c:v>
                </c:pt>
                <c:pt idx="166">
                  <c:v>5.523104632974378E-2</c:v>
                </c:pt>
                <c:pt idx="167">
                  <c:v>5.6664732328414506E-2</c:v>
                </c:pt>
                <c:pt idx="168">
                  <c:v>5.8162673161759555E-2</c:v>
                </c:pt>
                <c:pt idx="169">
                  <c:v>5.9811211263872531E-2</c:v>
                </c:pt>
                <c:pt idx="170">
                  <c:v>6.1764959830688526E-2</c:v>
                </c:pt>
                <c:pt idx="171">
                  <c:v>6.283118849356549E-2</c:v>
                </c:pt>
                <c:pt idx="172">
                  <c:v>6.3772923414260968E-2</c:v>
                </c:pt>
                <c:pt idx="173">
                  <c:v>6.5200585522180984E-2</c:v>
                </c:pt>
                <c:pt idx="174">
                  <c:v>6.6798924534704651E-2</c:v>
                </c:pt>
                <c:pt idx="175">
                  <c:v>6.8509709507908384E-2</c:v>
                </c:pt>
                <c:pt idx="176">
                  <c:v>7.0242582080531399E-2</c:v>
                </c:pt>
                <c:pt idx="177">
                  <c:v>7.1899152036978678E-2</c:v>
                </c:pt>
                <c:pt idx="178">
                  <c:v>7.3222400038552918E-2</c:v>
                </c:pt>
                <c:pt idx="179">
                  <c:v>7.417618274074983E-2</c:v>
                </c:pt>
                <c:pt idx="180">
                  <c:v>7.5551637795496965E-2</c:v>
                </c:pt>
                <c:pt idx="181">
                  <c:v>7.7149976808020632E-2</c:v>
                </c:pt>
                <c:pt idx="182">
                  <c:v>7.8768395456380022E-2</c:v>
                </c:pt>
                <c:pt idx="183">
                  <c:v>8.0591626390263807E-2</c:v>
                </c:pt>
                <c:pt idx="184">
                  <c:v>8.2400801579062585E-2</c:v>
                </c:pt>
                <c:pt idx="185">
                  <c:v>8.3370647989928076E-2</c:v>
                </c:pt>
                <c:pt idx="186">
                  <c:v>8.4246120112365666E-2</c:v>
                </c:pt>
                <c:pt idx="187">
                  <c:v>8.5663742402367807E-2</c:v>
                </c:pt>
                <c:pt idx="188">
                  <c:v>8.7107468218956402E-2</c:v>
                </c:pt>
                <c:pt idx="189">
                  <c:v>8.909535216669312E-2</c:v>
                </c:pt>
                <c:pt idx="190">
                  <c:v>9.0920591064160478E-2</c:v>
                </c:pt>
                <c:pt idx="191">
                  <c:v>9.2794021087633571E-2</c:v>
                </c:pt>
                <c:pt idx="192">
                  <c:v>9.3896393095014852E-2</c:v>
                </c:pt>
                <c:pt idx="193">
                  <c:v>9.4741745763698856E-2</c:v>
                </c:pt>
                <c:pt idx="194">
                  <c:v>9.6275829941548208E-2</c:v>
                </c:pt>
                <c:pt idx="195">
                  <c:v>9.813922014710344E-2</c:v>
                </c:pt>
                <c:pt idx="196">
                  <c:v>0.10028573321794239</c:v>
                </c:pt>
                <c:pt idx="197">
                  <c:v>0.10232984014601913</c:v>
                </c:pt>
                <c:pt idx="198">
                  <c:v>0.10593011885136454</c:v>
                </c:pt>
                <c:pt idx="199">
                  <c:v>0.10918101189316833</c:v>
                </c:pt>
                <c:pt idx="200">
                  <c:v>0.11280739412510017</c:v>
                </c:pt>
                <c:pt idx="201">
                  <c:v>0.119481865076895</c:v>
                </c:pt>
                <c:pt idx="202">
                  <c:v>0.12874460108791469</c:v>
                </c:pt>
                <c:pt idx="203">
                  <c:v>0.1369591801083096</c:v>
                </c:pt>
                <c:pt idx="204">
                  <c:v>0.14135059646558254</c:v>
                </c:pt>
                <c:pt idx="205">
                  <c:v>0.1457480367136062</c:v>
                </c:pt>
                <c:pt idx="206">
                  <c:v>0.15011937343504342</c:v>
                </c:pt>
                <c:pt idx="207">
                  <c:v>0.15448870219289706</c:v>
                </c:pt>
                <c:pt idx="208">
                  <c:v>0.15886807076866857</c:v>
                </c:pt>
                <c:pt idx="209">
                  <c:v>0.16326350305310866</c:v>
                </c:pt>
                <c:pt idx="210">
                  <c:v>0.16764487959246374</c:v>
                </c:pt>
                <c:pt idx="211">
                  <c:v>0.17204633576765455</c:v>
                </c:pt>
                <c:pt idx="212">
                  <c:v>0.17643775212492752</c:v>
                </c:pt>
                <c:pt idx="213">
                  <c:v>0.18081109680994831</c:v>
                </c:pt>
                <c:pt idx="214">
                  <c:v>0.19064409447870259</c:v>
                </c:pt>
                <c:pt idx="215">
                  <c:v>0.200495163819709</c:v>
                </c:pt>
                <c:pt idx="216">
                  <c:v>0.21034422519713186</c:v>
                </c:pt>
                <c:pt idx="217">
                  <c:v>0.22022340602830831</c:v>
                </c:pt>
                <c:pt idx="218">
                  <c:v>0.23009053907798332</c:v>
                </c:pt>
                <c:pt idx="219">
                  <c:v>0.2399677119455762</c:v>
                </c:pt>
                <c:pt idx="220">
                  <c:v>0.24980472554149763</c:v>
                </c:pt>
                <c:pt idx="221">
                  <c:v>0.2596457550645862</c:v>
                </c:pt>
                <c:pt idx="222">
                  <c:v>0.26951489607784479</c:v>
                </c:pt>
                <c:pt idx="223">
                  <c:v>0.27941415654485696</c:v>
                </c:pt>
                <c:pt idx="224">
                  <c:v>0.28931140904828556</c:v>
                </c:pt>
                <c:pt idx="225">
                  <c:v>0.30081904834573925</c:v>
                </c:pt>
                <c:pt idx="226">
                  <c:v>0.31237287080561515</c:v>
                </c:pt>
                <c:pt idx="227">
                  <c:v>0.32385641454006597</c:v>
                </c:pt>
                <c:pt idx="228">
                  <c:v>0.3353319264201825</c:v>
                </c:pt>
                <c:pt idx="229">
                  <c:v>0.34685964535347197</c:v>
                </c:pt>
                <c:pt idx="230">
                  <c:v>0.35236347353604403</c:v>
                </c:pt>
                <c:pt idx="231">
                  <c:v>0.35786730171861614</c:v>
                </c:pt>
                <c:pt idx="232">
                  <c:v>0.36337313786477177</c:v>
                </c:pt>
                <c:pt idx="233">
                  <c:v>0.36886893419300953</c:v>
                </c:pt>
                <c:pt idx="234">
                  <c:v>0.37433661903107734</c:v>
                </c:pt>
                <c:pt idx="235">
                  <c:v>0.37980028794197795</c:v>
                </c:pt>
                <c:pt idx="236">
                  <c:v>0.38528403648871434</c:v>
                </c:pt>
                <c:pt idx="237">
                  <c:v>0.39075975318111639</c:v>
                </c:pt>
                <c:pt idx="238">
                  <c:v>0.39624550969143635</c:v>
                </c:pt>
                <c:pt idx="239">
                  <c:v>0.40172925823817268</c:v>
                </c:pt>
                <c:pt idx="240">
                  <c:v>0.4072109988213255</c:v>
                </c:pt>
                <c:pt idx="241">
                  <c:v>0.41267667569580968</c:v>
                </c:pt>
                <c:pt idx="242">
                  <c:v>0.41814034460671029</c:v>
                </c:pt>
                <c:pt idx="243">
                  <c:v>0.42361806926269596</c:v>
                </c:pt>
                <c:pt idx="244">
                  <c:v>0.429099809845848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27A-4123-86A8-89323E6F14AF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6 25-29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D$5:$D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.0314255946019072E-4</c:v>
                </c:pt>
                <c:pt idx="19">
                  <c:v>3.1839659659450181E-4</c:v>
                </c:pt>
                <c:pt idx="20">
                  <c:v>6.5174139021221969E-4</c:v>
                </c:pt>
                <c:pt idx="21">
                  <c:v>9.8658100353225917E-4</c:v>
                </c:pt>
                <c:pt idx="22">
                  <c:v>1.2287417953083591E-3</c:v>
                </c:pt>
                <c:pt idx="23">
                  <c:v>1.3393584532801579E-3</c:v>
                </c:pt>
                <c:pt idx="24">
                  <c:v>1.4544595703589215E-3</c:v>
                </c:pt>
                <c:pt idx="25">
                  <c:v>1.5710555071400067E-3</c:v>
                </c:pt>
                <c:pt idx="26">
                  <c:v>1.9342966948041565E-3</c:v>
                </c:pt>
                <c:pt idx="27">
                  <c:v>2.3842374252029596E-3</c:v>
                </c:pt>
                <c:pt idx="28">
                  <c:v>2.941805174168918E-3</c:v>
                </c:pt>
                <c:pt idx="29">
                  <c:v>3.6368963357484643E-3</c:v>
                </c:pt>
                <c:pt idx="30">
                  <c:v>4.4411093355974877E-3</c:v>
                </c:pt>
                <c:pt idx="31">
                  <c:v>4.538272616248392E-3</c:v>
                </c:pt>
                <c:pt idx="32">
                  <c:v>4.6399203560062614E-3</c:v>
                </c:pt>
                <c:pt idx="33">
                  <c:v>5.4590815528785001E-3</c:v>
                </c:pt>
                <c:pt idx="34">
                  <c:v>6.3320562590343174E-3</c:v>
                </c:pt>
                <c:pt idx="35">
                  <c:v>7.1781242105483463E-3</c:v>
                </c:pt>
                <c:pt idx="36">
                  <c:v>8.1437777382481029E-3</c:v>
                </c:pt>
                <c:pt idx="37">
                  <c:v>8.9225788031576589E-3</c:v>
                </c:pt>
                <c:pt idx="38">
                  <c:v>9.0376799202364216E-3</c:v>
                </c:pt>
                <c:pt idx="39">
                  <c:v>9.1527810373151861E-3</c:v>
                </c:pt>
                <c:pt idx="40">
                  <c:v>9.7522037379461496E-3</c:v>
                </c:pt>
                <c:pt idx="41">
                  <c:v>1.0243999420009958E-2</c:v>
                </c:pt>
                <c:pt idx="42">
                  <c:v>1.0726826183859835E-2</c:v>
                </c:pt>
                <c:pt idx="43">
                  <c:v>1.1248518259970076E-2</c:v>
                </c:pt>
                <c:pt idx="44">
                  <c:v>1.1729850204117633E-2</c:v>
                </c:pt>
                <c:pt idx="45">
                  <c:v>1.1782168893698888E-2</c:v>
                </c:pt>
                <c:pt idx="46">
                  <c:v>1.1788148172508174E-2</c:v>
                </c:pt>
                <c:pt idx="47">
                  <c:v>1.2070669096246957E-2</c:v>
                </c:pt>
                <c:pt idx="48">
                  <c:v>1.236963303671128E-2</c:v>
                </c:pt>
                <c:pt idx="49">
                  <c:v>1.2610299008785058E-2</c:v>
                </c:pt>
                <c:pt idx="50">
                  <c:v>1.2849470161156515E-2</c:v>
                </c:pt>
                <c:pt idx="51">
                  <c:v>1.3090136133230292E-2</c:v>
                </c:pt>
                <c:pt idx="52">
                  <c:v>1.3102094690848866E-2</c:v>
                </c:pt>
                <c:pt idx="53">
                  <c:v>1.3108073969658152E-2</c:v>
                </c:pt>
                <c:pt idx="54">
                  <c:v>1.3272504136913528E-2</c:v>
                </c:pt>
                <c:pt idx="55">
                  <c:v>1.3460851419406051E-2</c:v>
                </c:pt>
                <c:pt idx="56">
                  <c:v>1.3623786766959106E-2</c:v>
                </c:pt>
                <c:pt idx="57">
                  <c:v>1.3803165131237699E-2</c:v>
                </c:pt>
                <c:pt idx="58">
                  <c:v>1.3966100478790752E-2</c:v>
                </c:pt>
                <c:pt idx="59">
                  <c:v>1.3969090118195396E-2</c:v>
                </c:pt>
                <c:pt idx="60">
                  <c:v>1.3979553856111647E-2</c:v>
                </c:pt>
                <c:pt idx="61">
                  <c:v>1.4100634251999698E-2</c:v>
                </c:pt>
                <c:pt idx="62">
                  <c:v>1.4215735369078461E-2</c:v>
                </c:pt>
                <c:pt idx="63">
                  <c:v>1.4360732880203658E-2</c:v>
                </c:pt>
                <c:pt idx="64">
                  <c:v>1.4486297735198671E-2</c:v>
                </c:pt>
                <c:pt idx="65">
                  <c:v>1.4647738263049406E-2</c:v>
                </c:pt>
                <c:pt idx="66">
                  <c:v>1.4653717541858692E-2</c:v>
                </c:pt>
                <c:pt idx="67">
                  <c:v>1.4655212361561013E-2</c:v>
                </c:pt>
                <c:pt idx="68">
                  <c:v>1.479124095447228E-2</c:v>
                </c:pt>
                <c:pt idx="69">
                  <c:v>1.4982577876369444E-2</c:v>
                </c:pt>
                <c:pt idx="70">
                  <c:v>1.5262109160703585E-2</c:v>
                </c:pt>
                <c:pt idx="71">
                  <c:v>1.553865080563308E-2</c:v>
                </c:pt>
                <c:pt idx="72">
                  <c:v>1.5809213171753291E-2</c:v>
                </c:pt>
                <c:pt idx="73">
                  <c:v>1.5830140647585794E-2</c:v>
                </c:pt>
                <c:pt idx="74">
                  <c:v>1.5858542221929905E-2</c:v>
                </c:pt>
                <c:pt idx="75">
                  <c:v>1.6242710885426555E-2</c:v>
                </c:pt>
                <c:pt idx="76">
                  <c:v>1.656110748202106E-2</c:v>
                </c:pt>
                <c:pt idx="77">
                  <c:v>1.6918369390875921E-2</c:v>
                </c:pt>
                <c:pt idx="78">
                  <c:v>1.7262177922409892E-2</c:v>
                </c:pt>
                <c:pt idx="79">
                  <c:v>1.7712118652808695E-2</c:v>
                </c:pt>
                <c:pt idx="80">
                  <c:v>1.776294252268763E-2</c:v>
                </c:pt>
                <c:pt idx="81">
                  <c:v>1.7801807834947992E-2</c:v>
                </c:pt>
                <c:pt idx="82">
                  <c:v>1.8218862531895717E-2</c:v>
                </c:pt>
                <c:pt idx="83">
                  <c:v>1.8659834344080591E-2</c:v>
                </c:pt>
                <c:pt idx="84">
                  <c:v>1.9073899401623677E-2</c:v>
                </c:pt>
                <c:pt idx="85">
                  <c:v>1.9486469639464439E-2</c:v>
                </c:pt>
                <c:pt idx="86">
                  <c:v>2.0050016667239684E-2</c:v>
                </c:pt>
                <c:pt idx="87">
                  <c:v>2.0166612604020768E-2</c:v>
                </c:pt>
                <c:pt idx="88">
                  <c:v>2.0251817327053102E-2</c:v>
                </c:pt>
                <c:pt idx="89">
                  <c:v>2.082881773214924E-2</c:v>
                </c:pt>
                <c:pt idx="90">
                  <c:v>2.147009538444521E-2</c:v>
                </c:pt>
                <c:pt idx="91">
                  <c:v>2.2247401629652445E-2</c:v>
                </c:pt>
                <c:pt idx="92">
                  <c:v>2.3108417778189689E-2</c:v>
                </c:pt>
                <c:pt idx="93">
                  <c:v>2.3347588930561144E-2</c:v>
                </c:pt>
                <c:pt idx="94">
                  <c:v>2.3601708279955818E-2</c:v>
                </c:pt>
                <c:pt idx="95">
                  <c:v>2.3790055562448339E-2</c:v>
                </c:pt>
                <c:pt idx="96">
                  <c:v>2.3970928746429254E-2</c:v>
                </c:pt>
                <c:pt idx="97">
                  <c:v>2.4929108175617401E-2</c:v>
                </c:pt>
                <c:pt idx="98">
                  <c:v>2.5504613761011222E-2</c:v>
                </c:pt>
                <c:pt idx="99">
                  <c:v>2.6269961448599881E-2</c:v>
                </c:pt>
                <c:pt idx="100">
                  <c:v>2.7290923305285538E-2</c:v>
                </c:pt>
                <c:pt idx="101">
                  <c:v>2.7628752558010221E-2</c:v>
                </c:pt>
                <c:pt idx="102">
                  <c:v>2.7881377087702573E-2</c:v>
                </c:pt>
                <c:pt idx="103">
                  <c:v>2.8383636507682632E-2</c:v>
                </c:pt>
                <c:pt idx="104">
                  <c:v>2.8984554028015915E-2</c:v>
                </c:pt>
                <c:pt idx="105">
                  <c:v>2.957500781043295E-2</c:v>
                </c:pt>
                <c:pt idx="106">
                  <c:v>3.0168451232254628E-2</c:v>
                </c:pt>
                <c:pt idx="107">
                  <c:v>3.09068921652015E-2</c:v>
                </c:pt>
                <c:pt idx="108">
                  <c:v>3.112962030084742E-2</c:v>
                </c:pt>
                <c:pt idx="109">
                  <c:v>3.1279102271079579E-2</c:v>
                </c:pt>
                <c:pt idx="110">
                  <c:v>3.1624405622315867E-2</c:v>
                </c:pt>
                <c:pt idx="111">
                  <c:v>3.2039965499561278E-2</c:v>
                </c:pt>
                <c:pt idx="112">
                  <c:v>3.2503359607280971E-2</c:v>
                </c:pt>
                <c:pt idx="113">
                  <c:v>3.3135668341363014E-2</c:v>
                </c:pt>
                <c:pt idx="114">
                  <c:v>3.3688751631222008E-2</c:v>
                </c:pt>
                <c:pt idx="115">
                  <c:v>3.39099849471656E-2</c:v>
                </c:pt>
                <c:pt idx="116">
                  <c:v>3.4056477277993123E-2</c:v>
                </c:pt>
                <c:pt idx="117">
                  <c:v>3.4328534463815653E-2</c:v>
                </c:pt>
                <c:pt idx="118">
                  <c:v>3.466337407713569E-2</c:v>
                </c:pt>
                <c:pt idx="119">
                  <c:v>3.5117799266641457E-2</c:v>
                </c:pt>
                <c:pt idx="120">
                  <c:v>3.5609594948705268E-2</c:v>
                </c:pt>
                <c:pt idx="121">
                  <c:v>3.600422735011817E-2</c:v>
                </c:pt>
                <c:pt idx="122">
                  <c:v>3.6068504597318002E-2</c:v>
                </c:pt>
                <c:pt idx="123">
                  <c:v>3.6135771483922476E-2</c:v>
                </c:pt>
                <c:pt idx="124">
                  <c:v>3.6273294896536058E-2</c:v>
                </c:pt>
                <c:pt idx="125">
                  <c:v>3.6457157719921619E-2</c:v>
                </c:pt>
                <c:pt idx="126">
                  <c:v>3.6641020543307173E-2</c:v>
                </c:pt>
                <c:pt idx="127">
                  <c:v>3.6839831563715945E-2</c:v>
                </c:pt>
                <c:pt idx="128">
                  <c:v>3.7152248881501163E-2</c:v>
                </c:pt>
                <c:pt idx="129">
                  <c:v>3.7174671177035989E-2</c:v>
                </c:pt>
                <c:pt idx="130">
                  <c:v>3.7213536489296352E-2</c:v>
                </c:pt>
                <c:pt idx="131">
                  <c:v>3.7366008098933153E-2</c:v>
                </c:pt>
                <c:pt idx="132">
                  <c:v>3.7511005610058351E-2</c:v>
                </c:pt>
                <c:pt idx="133">
                  <c:v>3.7687394334932296E-2</c:v>
                </c:pt>
                <c:pt idx="134">
                  <c:v>3.7887700175043393E-2</c:v>
                </c:pt>
                <c:pt idx="135">
                  <c:v>3.8143314344140387E-2</c:v>
                </c:pt>
                <c:pt idx="136">
                  <c:v>3.823599316568433E-2</c:v>
                </c:pt>
                <c:pt idx="137">
                  <c:v>3.8265889559730759E-2</c:v>
                </c:pt>
                <c:pt idx="138">
                  <c:v>3.8419855989069884E-2</c:v>
                </c:pt>
                <c:pt idx="139">
                  <c:v>3.8730778487152777E-2</c:v>
                </c:pt>
                <c:pt idx="140">
                  <c:v>3.9041700985235669E-2</c:v>
                </c:pt>
                <c:pt idx="141">
                  <c:v>3.9666535620806104E-2</c:v>
                </c:pt>
                <c:pt idx="142">
                  <c:v>4.0541005146664241E-2</c:v>
                </c:pt>
                <c:pt idx="143">
                  <c:v>4.0845948365937849E-2</c:v>
                </c:pt>
                <c:pt idx="144">
                  <c:v>4.1089603977416268E-2</c:v>
                </c:pt>
                <c:pt idx="145">
                  <c:v>4.1727891990307596E-2</c:v>
                </c:pt>
                <c:pt idx="146">
                  <c:v>4.2503703415812506E-2</c:v>
                </c:pt>
                <c:pt idx="147">
                  <c:v>4.3316885333875461E-2</c:v>
                </c:pt>
                <c:pt idx="148">
                  <c:v>4.4490318800197923E-2</c:v>
                </c:pt>
                <c:pt idx="149">
                  <c:v>4.5813234236752542E-2</c:v>
                </c:pt>
                <c:pt idx="150">
                  <c:v>4.6299050640007063E-2</c:v>
                </c:pt>
                <c:pt idx="151">
                  <c:v>4.6886514783019452E-2</c:v>
                </c:pt>
                <c:pt idx="152">
                  <c:v>4.8092834282792991E-2</c:v>
                </c:pt>
                <c:pt idx="153">
                  <c:v>4.9184052665487761E-2</c:v>
                </c:pt>
                <c:pt idx="154">
                  <c:v>5.0353001672703256E-2</c:v>
                </c:pt>
                <c:pt idx="155">
                  <c:v>5.1741689176160024E-2</c:v>
                </c:pt>
                <c:pt idx="156">
                  <c:v>5.3723820101438474E-2</c:v>
                </c:pt>
                <c:pt idx="157">
                  <c:v>5.425747073516729E-2</c:v>
                </c:pt>
                <c:pt idx="158">
                  <c:v>5.4641639398663941E-2</c:v>
                </c:pt>
                <c:pt idx="159">
                  <c:v>5.5930173982065165E-2</c:v>
                </c:pt>
                <c:pt idx="160">
                  <c:v>5.703335092237851E-2</c:v>
                </c:pt>
                <c:pt idx="161">
                  <c:v>5.7975087334841122E-2</c:v>
                </c:pt>
                <c:pt idx="162">
                  <c:v>5.9342847362465388E-2</c:v>
                </c:pt>
                <c:pt idx="163">
                  <c:v>6.1105239791502557E-2</c:v>
                </c:pt>
                <c:pt idx="164">
                  <c:v>6.1907957971649261E-2</c:v>
                </c:pt>
                <c:pt idx="165">
                  <c:v>6.2670316019833278E-2</c:v>
                </c:pt>
                <c:pt idx="166">
                  <c:v>6.4057508703587729E-2</c:v>
                </c:pt>
                <c:pt idx="167">
                  <c:v>6.5570266242337194E-2</c:v>
                </c:pt>
                <c:pt idx="168">
                  <c:v>6.7160754405607384E-2</c:v>
                </c:pt>
                <c:pt idx="169">
                  <c:v>6.8963506966607233E-2</c:v>
                </c:pt>
                <c:pt idx="170">
                  <c:v>7.0987492843550687E-2</c:v>
                </c:pt>
                <c:pt idx="171">
                  <c:v>7.2138504014338328E-2</c:v>
                </c:pt>
                <c:pt idx="172">
                  <c:v>7.3128074657275222E-2</c:v>
                </c:pt>
                <c:pt idx="173">
                  <c:v>7.4875518889289186E-2</c:v>
                </c:pt>
                <c:pt idx="174">
                  <c:v>7.6618478662196177E-2</c:v>
                </c:pt>
                <c:pt idx="175">
                  <c:v>7.8321078303140487E-2</c:v>
                </c:pt>
                <c:pt idx="176">
                  <c:v>8.0267333555563203E-2</c:v>
                </c:pt>
                <c:pt idx="177">
                  <c:v>8.2068591296860741E-2</c:v>
                </c:pt>
                <c:pt idx="178">
                  <c:v>8.3189706073601946E-2</c:v>
                </c:pt>
                <c:pt idx="179">
                  <c:v>8.4114999469339022E-2</c:v>
                </c:pt>
                <c:pt idx="180">
                  <c:v>8.5617293270172229E-2</c:v>
                </c:pt>
                <c:pt idx="181">
                  <c:v>8.720030733493081E-2</c:v>
                </c:pt>
                <c:pt idx="182">
                  <c:v>8.8698116676657057E-2</c:v>
                </c:pt>
                <c:pt idx="183">
                  <c:v>9.026917218379707E-2</c:v>
                </c:pt>
                <c:pt idx="184">
                  <c:v>9.1874608544090464E-2</c:v>
                </c:pt>
                <c:pt idx="185">
                  <c:v>9.2758046988162535E-2</c:v>
                </c:pt>
                <c:pt idx="186">
                  <c:v>9.3598135660867277E-2</c:v>
                </c:pt>
                <c:pt idx="187">
                  <c:v>9.4892649523077785E-2</c:v>
                </c:pt>
                <c:pt idx="188">
                  <c:v>9.6182678926181334E-2</c:v>
                </c:pt>
                <c:pt idx="189">
                  <c:v>9.7895742305041888E-2</c:v>
                </c:pt>
                <c:pt idx="190">
                  <c:v>9.9414479122600638E-2</c:v>
                </c:pt>
                <c:pt idx="191">
                  <c:v>0.10113950105907978</c:v>
                </c:pt>
                <c:pt idx="192">
                  <c:v>0.10210515458677953</c:v>
                </c:pt>
                <c:pt idx="193">
                  <c:v>0.10283313178181015</c:v>
                </c:pt>
                <c:pt idx="194">
                  <c:v>0.1043309411235364</c:v>
                </c:pt>
                <c:pt idx="195">
                  <c:v>0.10618601237411751</c:v>
                </c:pt>
                <c:pt idx="196">
                  <c:v>0.10798876493511737</c:v>
                </c:pt>
                <c:pt idx="197">
                  <c:v>0.10986027920242401</c:v>
                </c:pt>
                <c:pt idx="198">
                  <c:v>0.11291419585426705</c:v>
                </c:pt>
                <c:pt idx="199">
                  <c:v>0.11555105780916237</c:v>
                </c:pt>
                <c:pt idx="200">
                  <c:v>0.11825369183095982</c:v>
                </c:pt>
                <c:pt idx="201">
                  <c:v>0.12430771162536233</c:v>
                </c:pt>
                <c:pt idx="202">
                  <c:v>0.13205835178189984</c:v>
                </c:pt>
                <c:pt idx="203">
                  <c:v>0.13917219874524836</c:v>
                </c:pt>
                <c:pt idx="204">
                  <c:v>0.14290476354194542</c:v>
                </c:pt>
                <c:pt idx="205">
                  <c:v>0.14663284387953548</c:v>
                </c:pt>
                <c:pt idx="206">
                  <c:v>0.15033551228218611</c:v>
                </c:pt>
                <c:pt idx="207">
                  <c:v>0.15403369622572977</c:v>
                </c:pt>
                <c:pt idx="208">
                  <c:v>0.15774383872689199</c:v>
                </c:pt>
                <c:pt idx="209">
                  <c:v>0.16147191906448208</c:v>
                </c:pt>
                <c:pt idx="210">
                  <c:v>0.16519402012326287</c:v>
                </c:pt>
                <c:pt idx="211">
                  <c:v>0.16891761600174598</c:v>
                </c:pt>
                <c:pt idx="212">
                  <c:v>0.17264420151963375</c:v>
                </c:pt>
                <c:pt idx="213">
                  <c:v>0.17634686992228435</c:v>
                </c:pt>
                <c:pt idx="214">
                  <c:v>0.18467002602481106</c:v>
                </c:pt>
                <c:pt idx="215">
                  <c:v>0.19300813032436095</c:v>
                </c:pt>
                <c:pt idx="216">
                  <c:v>0.20135221390272015</c:v>
                </c:pt>
                <c:pt idx="217">
                  <c:v>0.20971423531750721</c:v>
                </c:pt>
                <c:pt idx="218">
                  <c:v>0.21806130853527106</c:v>
                </c:pt>
                <c:pt idx="219">
                  <c:v>0.22643827814708134</c:v>
                </c:pt>
                <c:pt idx="220">
                  <c:v>0.23476292906931034</c:v>
                </c:pt>
                <c:pt idx="221">
                  <c:v>0.24308608517183705</c:v>
                </c:pt>
                <c:pt idx="222">
                  <c:v>0.25144661176692179</c:v>
                </c:pt>
                <c:pt idx="223">
                  <c:v>0.25981461246051812</c:v>
                </c:pt>
                <c:pt idx="224">
                  <c:v>0.2682005509905423</c:v>
                </c:pt>
                <c:pt idx="225">
                  <c:v>0.27795424954819081</c:v>
                </c:pt>
                <c:pt idx="226">
                  <c:v>0.28772439112256482</c:v>
                </c:pt>
                <c:pt idx="227">
                  <c:v>0.29744071918765524</c:v>
                </c:pt>
                <c:pt idx="228">
                  <c:v>0.30715256279363867</c:v>
                </c:pt>
                <c:pt idx="229">
                  <c:v>0.31690775617098949</c:v>
                </c:pt>
                <c:pt idx="230">
                  <c:v>0.32667042364685189</c:v>
                </c:pt>
                <c:pt idx="231">
                  <c:v>0.33642262738479806</c:v>
                </c:pt>
                <c:pt idx="232">
                  <c:v>0.34617782076214881</c:v>
                </c:pt>
                <c:pt idx="233">
                  <c:v>0.35591956076217873</c:v>
                </c:pt>
                <c:pt idx="234">
                  <c:v>0.36563140436816222</c:v>
                </c:pt>
                <c:pt idx="235">
                  <c:v>0.37025637652714527</c:v>
                </c:pt>
                <c:pt idx="236">
                  <c:v>0.37489779170285381</c:v>
                </c:pt>
                <c:pt idx="237">
                  <c:v>0.37953920687856241</c:v>
                </c:pt>
                <c:pt idx="238">
                  <c:v>0.38419108579218725</c:v>
                </c:pt>
                <c:pt idx="239">
                  <c:v>0.38883997506640744</c:v>
                </c:pt>
                <c:pt idx="240">
                  <c:v>0.39348736952092528</c:v>
                </c:pt>
                <c:pt idx="241">
                  <c:v>0.39811383649961068</c:v>
                </c:pt>
                <c:pt idx="242">
                  <c:v>0.40273880865859374</c:v>
                </c:pt>
                <c:pt idx="243">
                  <c:v>0.40738620311311158</c:v>
                </c:pt>
                <c:pt idx="244">
                  <c:v>0.412032102747927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27A-4123-86A8-89323E6F14AF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7 30-34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E$5:$E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.3789470636011753E-6</c:v>
                </c:pt>
                <c:pt idx="18">
                  <c:v>9.7905241515683434E-5</c:v>
                </c:pt>
                <c:pt idx="19">
                  <c:v>3.4197887177309143E-4</c:v>
                </c:pt>
                <c:pt idx="20">
                  <c:v>6.0397881385731468E-4</c:v>
                </c:pt>
                <c:pt idx="21">
                  <c:v>8.7838927951394859E-4</c:v>
                </c:pt>
                <c:pt idx="22">
                  <c:v>1.0755787096089165E-3</c:v>
                </c:pt>
                <c:pt idx="23">
                  <c:v>1.1707260569973977E-3</c:v>
                </c:pt>
                <c:pt idx="24">
                  <c:v>1.2465681454954624E-3</c:v>
                </c:pt>
                <c:pt idx="25">
                  <c:v>1.3610207517743599E-3</c:v>
                </c:pt>
                <c:pt idx="26">
                  <c:v>1.6933469941022431E-3</c:v>
                </c:pt>
                <c:pt idx="27">
                  <c:v>2.1814942546170592E-3</c:v>
                </c:pt>
                <c:pt idx="28">
                  <c:v>2.6586099386230657E-3</c:v>
                </c:pt>
                <c:pt idx="29">
                  <c:v>3.2598308583531781E-3</c:v>
                </c:pt>
                <c:pt idx="30">
                  <c:v>4.0237675315882293E-3</c:v>
                </c:pt>
                <c:pt idx="31">
                  <c:v>4.1065043554043001E-3</c:v>
                </c:pt>
                <c:pt idx="32">
                  <c:v>4.2181990675559953E-3</c:v>
                </c:pt>
                <c:pt idx="33">
                  <c:v>4.9449041700738144E-3</c:v>
                </c:pt>
                <c:pt idx="34">
                  <c:v>5.8177776613333584E-3</c:v>
                </c:pt>
                <c:pt idx="35">
                  <c:v>6.7251248291829314E-3</c:v>
                </c:pt>
                <c:pt idx="36">
                  <c:v>7.7620930210110153E-3</c:v>
                </c:pt>
                <c:pt idx="37">
                  <c:v>8.5522296884544893E-3</c:v>
                </c:pt>
                <c:pt idx="38">
                  <c:v>8.6777138712421948E-3</c:v>
                </c:pt>
                <c:pt idx="39">
                  <c:v>8.7811349010122833E-3</c:v>
                </c:pt>
                <c:pt idx="40">
                  <c:v>9.4568189621768595E-3</c:v>
                </c:pt>
                <c:pt idx="41">
                  <c:v>1.0089755664369799E-2</c:v>
                </c:pt>
                <c:pt idx="42">
                  <c:v>1.0586176607266223E-2</c:v>
                </c:pt>
                <c:pt idx="43">
                  <c:v>1.1136376485643092E-2</c:v>
                </c:pt>
                <c:pt idx="44">
                  <c:v>1.1645207952111925E-2</c:v>
                </c:pt>
                <c:pt idx="45">
                  <c:v>1.1704502675846775E-2</c:v>
                </c:pt>
                <c:pt idx="46">
                  <c:v>1.172105004060999E-2</c:v>
                </c:pt>
                <c:pt idx="47">
                  <c:v>1.206164996531948E-2</c:v>
                </c:pt>
                <c:pt idx="48">
                  <c:v>1.2313997277958495E-2</c:v>
                </c:pt>
                <c:pt idx="49">
                  <c:v>1.2562207749406706E-2</c:v>
                </c:pt>
                <c:pt idx="50">
                  <c:v>1.2840755056254143E-2</c:v>
                </c:pt>
                <c:pt idx="51">
                  <c:v>1.3044839221667118E-2</c:v>
                </c:pt>
                <c:pt idx="52">
                  <c:v>1.3054491851112326E-2</c:v>
                </c:pt>
                <c:pt idx="53">
                  <c:v>1.3058628692303129E-2</c:v>
                </c:pt>
                <c:pt idx="54">
                  <c:v>1.3269607593034109E-2</c:v>
                </c:pt>
                <c:pt idx="55">
                  <c:v>1.3448870711302262E-2</c:v>
                </c:pt>
                <c:pt idx="56">
                  <c:v>1.3606070676552796E-2</c:v>
                </c:pt>
                <c:pt idx="57">
                  <c:v>1.3785333794820949E-2</c:v>
                </c:pt>
                <c:pt idx="58">
                  <c:v>1.3971491648407107E-2</c:v>
                </c:pt>
                <c:pt idx="59">
                  <c:v>1.3981144277852315E-2</c:v>
                </c:pt>
                <c:pt idx="60">
                  <c:v>1.3986660066106721E-2</c:v>
                </c:pt>
                <c:pt idx="61">
                  <c:v>1.4119038984212432E-2</c:v>
                </c:pt>
                <c:pt idx="62">
                  <c:v>1.4229354749300527E-2</c:v>
                </c:pt>
                <c:pt idx="63">
                  <c:v>1.4403102079314275E-2</c:v>
                </c:pt>
                <c:pt idx="64">
                  <c:v>1.4509281003211565E-2</c:v>
                </c:pt>
                <c:pt idx="65">
                  <c:v>1.4674754650843707E-2</c:v>
                </c:pt>
                <c:pt idx="66">
                  <c:v>1.467889149203451E-2</c:v>
                </c:pt>
                <c:pt idx="67">
                  <c:v>1.4683028333225313E-2</c:v>
                </c:pt>
                <c:pt idx="68">
                  <c:v>1.4845744086730252E-2</c:v>
                </c:pt>
                <c:pt idx="69">
                  <c:v>1.5034659834443614E-2</c:v>
                </c:pt>
                <c:pt idx="70">
                  <c:v>1.5306312405973044E-2</c:v>
                </c:pt>
                <c:pt idx="71">
                  <c:v>1.5601407077583696E-2</c:v>
                </c:pt>
                <c:pt idx="72">
                  <c:v>1.5915807008084763E-2</c:v>
                </c:pt>
                <c:pt idx="73">
                  <c:v>1.5929596478720776E-2</c:v>
                </c:pt>
                <c:pt idx="74">
                  <c:v>1.596958594356521E-2</c:v>
                </c:pt>
                <c:pt idx="75">
                  <c:v>1.6311564815338301E-2</c:v>
                </c:pt>
                <c:pt idx="76">
                  <c:v>1.66604384224294E-2</c:v>
                </c:pt>
                <c:pt idx="77">
                  <c:v>1.7065848859128145E-2</c:v>
                </c:pt>
                <c:pt idx="78">
                  <c:v>1.7480911925272097E-2</c:v>
                </c:pt>
                <c:pt idx="79">
                  <c:v>1.7911143409115666E-2</c:v>
                </c:pt>
                <c:pt idx="80">
                  <c:v>1.7966301291659711E-2</c:v>
                </c:pt>
                <c:pt idx="81">
                  <c:v>1.8018701280076557E-2</c:v>
                </c:pt>
                <c:pt idx="82">
                  <c:v>1.846823802281054E-2</c:v>
                </c:pt>
                <c:pt idx="83">
                  <c:v>1.8877785300700087E-2</c:v>
                </c:pt>
                <c:pt idx="84">
                  <c:v>1.9382479925978118E-2</c:v>
                </c:pt>
                <c:pt idx="85">
                  <c:v>1.9808574568630881E-2</c:v>
                </c:pt>
                <c:pt idx="86">
                  <c:v>2.0412553382488197E-2</c:v>
                </c:pt>
                <c:pt idx="87">
                  <c:v>2.0518732306385488E-2</c:v>
                </c:pt>
                <c:pt idx="88">
                  <c:v>2.0611121759646765E-2</c:v>
                </c:pt>
                <c:pt idx="89">
                  <c:v>2.1241300567712503E-2</c:v>
                </c:pt>
                <c:pt idx="90">
                  <c:v>2.1936289887767496E-2</c:v>
                </c:pt>
                <c:pt idx="91">
                  <c:v>2.2714016031638556E-2</c:v>
                </c:pt>
                <c:pt idx="92">
                  <c:v>2.3640668458378547E-2</c:v>
                </c:pt>
                <c:pt idx="93">
                  <c:v>2.3919215765225984E-2</c:v>
                </c:pt>
                <c:pt idx="94">
                  <c:v>2.4181215707310209E-2</c:v>
                </c:pt>
                <c:pt idx="95">
                  <c:v>2.4379784084468777E-2</c:v>
                </c:pt>
                <c:pt idx="96">
                  <c:v>2.4572836673372941E-2</c:v>
                </c:pt>
                <c:pt idx="97">
                  <c:v>2.5536720670830165E-2</c:v>
                </c:pt>
                <c:pt idx="98">
                  <c:v>2.6137941590560276E-2</c:v>
                </c:pt>
                <c:pt idx="99">
                  <c:v>2.6911530893240537E-2</c:v>
                </c:pt>
                <c:pt idx="100">
                  <c:v>2.7787162278627282E-2</c:v>
                </c:pt>
                <c:pt idx="101">
                  <c:v>2.811535167976436E-2</c:v>
                </c:pt>
                <c:pt idx="102">
                  <c:v>2.8323572686368138E-2</c:v>
                </c:pt>
                <c:pt idx="103">
                  <c:v>2.8890319929508222E-2</c:v>
                </c:pt>
                <c:pt idx="104">
                  <c:v>2.9632193449725654E-2</c:v>
                </c:pt>
                <c:pt idx="105">
                  <c:v>3.0283056463745409E-2</c:v>
                </c:pt>
                <c:pt idx="106">
                  <c:v>3.0902203695302336E-2</c:v>
                </c:pt>
                <c:pt idx="107">
                  <c:v>3.1737845615844647E-2</c:v>
                </c:pt>
                <c:pt idx="108">
                  <c:v>3.2053624493409316E-2</c:v>
                </c:pt>
                <c:pt idx="109">
                  <c:v>3.221220340572345E-2</c:v>
                </c:pt>
                <c:pt idx="110">
                  <c:v>3.2591413848213777E-2</c:v>
                </c:pt>
                <c:pt idx="111">
                  <c:v>3.3010613755548535E-2</c:v>
                </c:pt>
                <c:pt idx="112">
                  <c:v>3.3530476798526179E-2</c:v>
                </c:pt>
                <c:pt idx="113">
                  <c:v>3.4197887177309143E-2</c:v>
                </c:pt>
                <c:pt idx="114">
                  <c:v>3.4832202826565684E-2</c:v>
                </c:pt>
                <c:pt idx="115">
                  <c:v>3.5015602786024641E-2</c:v>
                </c:pt>
                <c:pt idx="116">
                  <c:v>3.5150739598257555E-2</c:v>
                </c:pt>
                <c:pt idx="117">
                  <c:v>3.5400329016769372E-2</c:v>
                </c:pt>
                <c:pt idx="118">
                  <c:v>3.5757476306242077E-2</c:v>
                </c:pt>
                <c:pt idx="119">
                  <c:v>3.624148672556609E-2</c:v>
                </c:pt>
                <c:pt idx="120">
                  <c:v>3.6890970792522237E-2</c:v>
                </c:pt>
                <c:pt idx="121">
                  <c:v>3.7330854905811013E-2</c:v>
                </c:pt>
                <c:pt idx="122">
                  <c:v>3.7419107517881488E-2</c:v>
                </c:pt>
                <c:pt idx="123">
                  <c:v>3.7483918029870743E-2</c:v>
                </c:pt>
                <c:pt idx="124">
                  <c:v>3.7609402212658453E-2</c:v>
                </c:pt>
                <c:pt idx="125">
                  <c:v>3.7805212695689816E-2</c:v>
                </c:pt>
                <c:pt idx="126">
                  <c:v>3.8036875802374817E-2</c:v>
                </c:pt>
                <c:pt idx="127">
                  <c:v>3.8253370491360204E-2</c:v>
                </c:pt>
                <c:pt idx="128">
                  <c:v>3.8600865151387699E-2</c:v>
                </c:pt>
                <c:pt idx="129">
                  <c:v>3.8643612510359332E-2</c:v>
                </c:pt>
                <c:pt idx="130">
                  <c:v>3.8684980922267367E-2</c:v>
                </c:pt>
                <c:pt idx="131">
                  <c:v>3.8858728252281115E-2</c:v>
                </c:pt>
                <c:pt idx="132">
                  <c:v>3.9071086100075696E-2</c:v>
                </c:pt>
                <c:pt idx="133">
                  <c:v>3.9287580789061083E-2</c:v>
                </c:pt>
                <c:pt idx="134">
                  <c:v>3.9495801795664857E-2</c:v>
                </c:pt>
                <c:pt idx="135">
                  <c:v>3.9759180684812684E-2</c:v>
                </c:pt>
                <c:pt idx="136">
                  <c:v>3.9857085926328369E-2</c:v>
                </c:pt>
                <c:pt idx="137">
                  <c:v>3.9888801708791194E-2</c:v>
                </c:pt>
                <c:pt idx="138">
                  <c:v>4.0073580615313749E-2</c:v>
                </c:pt>
                <c:pt idx="139">
                  <c:v>4.046795947550369E-2</c:v>
                </c:pt>
                <c:pt idx="140">
                  <c:v>4.0878885700456842E-2</c:v>
                </c:pt>
                <c:pt idx="141">
                  <c:v>4.1542159238049006E-2</c:v>
                </c:pt>
                <c:pt idx="142">
                  <c:v>4.2623253735912324E-2</c:v>
                </c:pt>
                <c:pt idx="143">
                  <c:v>4.2912832619268572E-2</c:v>
                </c:pt>
                <c:pt idx="144">
                  <c:v>4.314587467301717E-2</c:v>
                </c:pt>
                <c:pt idx="145">
                  <c:v>4.4002200799513502E-2</c:v>
                </c:pt>
                <c:pt idx="146">
                  <c:v>4.4875074290773045E-2</c:v>
                </c:pt>
                <c:pt idx="147">
                  <c:v>4.5830684605848659E-2</c:v>
                </c:pt>
                <c:pt idx="148">
                  <c:v>4.7337873746364743E-2</c:v>
                </c:pt>
                <c:pt idx="149">
                  <c:v>4.8912631292997284E-2</c:v>
                </c:pt>
                <c:pt idx="150">
                  <c:v>4.9435252230102131E-2</c:v>
                </c:pt>
                <c:pt idx="151">
                  <c:v>5.0015788943878224E-2</c:v>
                </c:pt>
                <c:pt idx="152">
                  <c:v>5.1482988619549877E-2</c:v>
                </c:pt>
                <c:pt idx="153">
                  <c:v>5.2799883065288995E-2</c:v>
                </c:pt>
                <c:pt idx="154">
                  <c:v>5.4300177470487078E-2</c:v>
                </c:pt>
                <c:pt idx="155">
                  <c:v>5.5896998170137241E-2</c:v>
                </c:pt>
                <c:pt idx="156">
                  <c:v>5.8154334513252359E-2</c:v>
                </c:pt>
                <c:pt idx="157">
                  <c:v>5.8638344932576372E-2</c:v>
                </c:pt>
                <c:pt idx="158">
                  <c:v>5.9109944828327973E-2</c:v>
                </c:pt>
                <c:pt idx="159">
                  <c:v>6.0488891891929152E-2</c:v>
                </c:pt>
                <c:pt idx="160">
                  <c:v>6.1614112695827707E-2</c:v>
                </c:pt>
                <c:pt idx="161">
                  <c:v>6.275588086448948E-2</c:v>
                </c:pt>
                <c:pt idx="162">
                  <c:v>6.5188343484681957E-2</c:v>
                </c:pt>
                <c:pt idx="163">
                  <c:v>6.8023458647445967E-2</c:v>
                </c:pt>
                <c:pt idx="164">
                  <c:v>6.9680953017894579E-2</c:v>
                </c:pt>
                <c:pt idx="165">
                  <c:v>7.1334310547152391E-2</c:v>
                </c:pt>
                <c:pt idx="166">
                  <c:v>7.3856404726478947E-2</c:v>
                </c:pt>
                <c:pt idx="167">
                  <c:v>7.6399183111759514E-2</c:v>
                </c:pt>
                <c:pt idx="168">
                  <c:v>7.9168108815470664E-2</c:v>
                </c:pt>
                <c:pt idx="169">
                  <c:v>8.2130087108085989E-2</c:v>
                </c:pt>
                <c:pt idx="170">
                  <c:v>8.538853901937557E-2</c:v>
                </c:pt>
                <c:pt idx="171">
                  <c:v>8.7523149073830186E-2</c:v>
                </c:pt>
                <c:pt idx="172">
                  <c:v>8.945229601580823E-2</c:v>
                </c:pt>
                <c:pt idx="173">
                  <c:v>9.2272242760872633E-2</c:v>
                </c:pt>
                <c:pt idx="174">
                  <c:v>9.5176305276816711E-2</c:v>
                </c:pt>
                <c:pt idx="175">
                  <c:v>9.7959020451163878E-2</c:v>
                </c:pt>
                <c:pt idx="176">
                  <c:v>0.10085343033766275</c:v>
                </c:pt>
                <c:pt idx="177">
                  <c:v>0.10366924024153636</c:v>
                </c:pt>
                <c:pt idx="178">
                  <c:v>0.10561493454827761</c:v>
                </c:pt>
                <c:pt idx="179">
                  <c:v>0.10740342888976834</c:v>
                </c:pt>
                <c:pt idx="180">
                  <c:v>0.10984416519234241</c:v>
                </c:pt>
                <c:pt idx="181">
                  <c:v>0.11234695411277855</c:v>
                </c:pt>
                <c:pt idx="182">
                  <c:v>0.1148662903979779</c:v>
                </c:pt>
                <c:pt idx="183">
                  <c:v>0.11739252141849525</c:v>
                </c:pt>
                <c:pt idx="184">
                  <c:v>0.11995046822147543</c:v>
                </c:pt>
                <c:pt idx="185">
                  <c:v>0.12171414151582133</c:v>
                </c:pt>
                <c:pt idx="186">
                  <c:v>0.1233247516861075</c:v>
                </c:pt>
                <c:pt idx="187">
                  <c:v>0.12553382488199658</c:v>
                </c:pt>
                <c:pt idx="188">
                  <c:v>0.12775530860145809</c:v>
                </c:pt>
                <c:pt idx="189">
                  <c:v>0.13096549736552163</c:v>
                </c:pt>
                <c:pt idx="190">
                  <c:v>0.13525953852157568</c:v>
                </c:pt>
                <c:pt idx="191">
                  <c:v>0.14088150569987767</c:v>
                </c:pt>
                <c:pt idx="192">
                  <c:v>0.14528862051514702</c:v>
                </c:pt>
                <c:pt idx="193">
                  <c:v>0.14835677773165964</c:v>
                </c:pt>
                <c:pt idx="194">
                  <c:v>0.15681799691391646</c:v>
                </c:pt>
                <c:pt idx="195">
                  <c:v>0.16705667886115516</c:v>
                </c:pt>
                <c:pt idx="196">
                  <c:v>0.17947823401007457</c:v>
                </c:pt>
                <c:pt idx="197">
                  <c:v>0.19335733620522039</c:v>
                </c:pt>
                <c:pt idx="198">
                  <c:v>0.2074432804599064</c:v>
                </c:pt>
                <c:pt idx="199">
                  <c:v>0.21722690987615673</c:v>
                </c:pt>
                <c:pt idx="200">
                  <c:v>0.22890797045192229</c:v>
                </c:pt>
                <c:pt idx="201">
                  <c:v>0.24718315588582865</c:v>
                </c:pt>
                <c:pt idx="202">
                  <c:v>0.26674903577126574</c:v>
                </c:pt>
                <c:pt idx="203">
                  <c:v>0.28165407458173086</c:v>
                </c:pt>
                <c:pt idx="204">
                  <c:v>0.29187896705833355</c:v>
                </c:pt>
                <c:pt idx="205">
                  <c:v>0.3021190279526359</c:v>
                </c:pt>
                <c:pt idx="206">
                  <c:v>0.31232461517034815</c:v>
                </c:pt>
                <c:pt idx="207">
                  <c:v>0.32125605530129298</c:v>
                </c:pt>
                <c:pt idx="208">
                  <c:v>0.330210937532319</c:v>
                </c:pt>
                <c:pt idx="209">
                  <c:v>0.33919064081048989</c:v>
                </c:pt>
                <c:pt idx="210">
                  <c:v>0.3481482809356431</c:v>
                </c:pt>
                <c:pt idx="211">
                  <c:v>0.35711143684905072</c:v>
                </c:pt>
                <c:pt idx="212">
                  <c:v>0.36605666645063156</c:v>
                </c:pt>
                <c:pt idx="213">
                  <c:v>0.37498810658157639</c:v>
                </c:pt>
                <c:pt idx="214">
                  <c:v>0.38391954671252121</c:v>
                </c:pt>
                <c:pt idx="215">
                  <c:v>0.39287580789061083</c:v>
                </c:pt>
                <c:pt idx="216">
                  <c:v>0.40184585853933646</c:v>
                </c:pt>
                <c:pt idx="217">
                  <c:v>0.41082004602925293</c:v>
                </c:pt>
                <c:pt idx="218">
                  <c:v>0.41979699141329657</c:v>
                </c:pt>
                <c:pt idx="219">
                  <c:v>0.42881116836805744</c:v>
                </c:pt>
                <c:pt idx="220">
                  <c:v>0.43773847165781143</c:v>
                </c:pt>
                <c:pt idx="221">
                  <c:v>0.44666577494756549</c:v>
                </c:pt>
                <c:pt idx="222">
                  <c:v>0.45567581506113553</c:v>
                </c:pt>
                <c:pt idx="223">
                  <c:v>0.46468171833351479</c:v>
                </c:pt>
                <c:pt idx="224">
                  <c:v>0.47370141107653013</c:v>
                </c:pt>
                <c:pt idx="225">
                  <c:v>0.48651872403270302</c:v>
                </c:pt>
                <c:pt idx="226">
                  <c:v>0.49938016329491119</c:v>
                </c:pt>
                <c:pt idx="227">
                  <c:v>0.51214093942147643</c:v>
                </c:pt>
                <c:pt idx="228">
                  <c:v>0.52489482081272376</c:v>
                </c:pt>
                <c:pt idx="229">
                  <c:v>0.53769420745706986</c:v>
                </c:pt>
                <c:pt idx="230">
                  <c:v>0.55051841514856081</c:v>
                </c:pt>
                <c:pt idx="231">
                  <c:v>0.56335227546949695</c:v>
                </c:pt>
                <c:pt idx="232">
                  <c:v>0.57618062000217862</c:v>
                </c:pt>
                <c:pt idx="233">
                  <c:v>0.58898965927596991</c:v>
                </c:pt>
                <c:pt idx="234">
                  <c:v>0.60174354066721725</c:v>
                </c:pt>
                <c:pt idx="235">
                  <c:v>0.61450017995259165</c:v>
                </c:pt>
                <c:pt idx="236">
                  <c:v>0.62729956659693786</c:v>
                </c:pt>
                <c:pt idx="237">
                  <c:v>0.64007413219413911</c:v>
                </c:pt>
                <c:pt idx="238">
                  <c:v>0.65287489778554886</c:v>
                </c:pt>
                <c:pt idx="239">
                  <c:v>0.66567566337695849</c:v>
                </c:pt>
                <c:pt idx="240">
                  <c:v>0.67846953423305023</c:v>
                </c:pt>
                <c:pt idx="241">
                  <c:v>0.69123031035961546</c:v>
                </c:pt>
                <c:pt idx="242">
                  <c:v>0.7039841917508628</c:v>
                </c:pt>
                <c:pt idx="243">
                  <c:v>0.7167670310304457</c:v>
                </c:pt>
                <c:pt idx="244">
                  <c:v>0.729541596627646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27A-4123-86A8-89323E6F14AF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8 35-39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F$5:$F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6.6075796562787851E-5</c:v>
                </c:pt>
                <c:pt idx="19">
                  <c:v>2.8717557736903949E-4</c:v>
                </c:pt>
                <c:pt idx="20">
                  <c:v>5.6291495917913496E-4</c:v>
                </c:pt>
                <c:pt idx="21">
                  <c:v>8.8058705803869197E-4</c:v>
                </c:pt>
                <c:pt idx="22">
                  <c:v>1.076273070936179E-3</c:v>
                </c:pt>
                <c:pt idx="23">
                  <c:v>1.2224022364115752E-3</c:v>
                </c:pt>
                <c:pt idx="24">
                  <c:v>1.3304107500238247E-3</c:v>
                </c:pt>
                <c:pt idx="25">
                  <c:v>1.4282537564725682E-3</c:v>
                </c:pt>
                <c:pt idx="26">
                  <c:v>1.8056482099177219E-3</c:v>
                </c:pt>
                <c:pt idx="27">
                  <c:v>2.3215476984656423E-3</c:v>
                </c:pt>
                <c:pt idx="28">
                  <c:v>2.8806505924584627E-3</c:v>
                </c:pt>
                <c:pt idx="29">
                  <c:v>3.6646653324438495E-3</c:v>
                </c:pt>
                <c:pt idx="30">
                  <c:v>4.5249213761555298E-3</c:v>
                </c:pt>
                <c:pt idx="31">
                  <c:v>4.6189523174179582E-3</c:v>
                </c:pt>
                <c:pt idx="32">
                  <c:v>4.7549159757298487E-3</c:v>
                </c:pt>
                <c:pt idx="33">
                  <c:v>5.635503033768541E-3</c:v>
                </c:pt>
                <c:pt idx="34">
                  <c:v>6.8121604879443397E-3</c:v>
                </c:pt>
                <c:pt idx="35">
                  <c:v>8.0129610216334649E-3</c:v>
                </c:pt>
                <c:pt idx="36">
                  <c:v>9.3344769528892219E-3</c:v>
                </c:pt>
                <c:pt idx="37">
                  <c:v>1.036881730677594E-2</c:v>
                </c:pt>
                <c:pt idx="38">
                  <c:v>1.0507322341878707E-2</c:v>
                </c:pt>
                <c:pt idx="39">
                  <c:v>1.0612789478700079E-2</c:v>
                </c:pt>
                <c:pt idx="40">
                  <c:v>1.1492105848343334E-2</c:v>
                </c:pt>
                <c:pt idx="41">
                  <c:v>1.2231646494488381E-2</c:v>
                </c:pt>
                <c:pt idx="42">
                  <c:v>1.2963563010260802E-2</c:v>
                </c:pt>
                <c:pt idx="43">
                  <c:v>1.377426220655039E-2</c:v>
                </c:pt>
                <c:pt idx="44">
                  <c:v>1.4431208106991954E-2</c:v>
                </c:pt>
                <c:pt idx="45">
                  <c:v>1.4497283903554743E-2</c:v>
                </c:pt>
                <c:pt idx="46">
                  <c:v>1.4518885606277192E-2</c:v>
                </c:pt>
                <c:pt idx="47">
                  <c:v>1.4975062740239516E-2</c:v>
                </c:pt>
                <c:pt idx="48">
                  <c:v>1.5351186505289232E-2</c:v>
                </c:pt>
                <c:pt idx="49">
                  <c:v>1.5693001683662115E-2</c:v>
                </c:pt>
                <c:pt idx="50">
                  <c:v>1.6089456463038842E-2</c:v>
                </c:pt>
                <c:pt idx="51">
                  <c:v>1.6376632040407881E-2</c:v>
                </c:pt>
                <c:pt idx="52">
                  <c:v>1.6395692366339455E-2</c:v>
                </c:pt>
                <c:pt idx="53">
                  <c:v>1.6408399250293838E-2</c:v>
                </c:pt>
                <c:pt idx="54">
                  <c:v>1.6605355951586763E-2</c:v>
                </c:pt>
                <c:pt idx="55">
                  <c:v>1.6832809174370206E-2</c:v>
                </c:pt>
                <c:pt idx="56">
                  <c:v>1.703103656405857E-2</c:v>
                </c:pt>
                <c:pt idx="57">
                  <c:v>1.7275008735982707E-2</c:v>
                </c:pt>
                <c:pt idx="58">
                  <c:v>1.7485943009625454E-2</c:v>
                </c:pt>
                <c:pt idx="59">
                  <c:v>1.7492296451602645E-2</c:v>
                </c:pt>
                <c:pt idx="60">
                  <c:v>1.7497379205184398E-2</c:v>
                </c:pt>
                <c:pt idx="61">
                  <c:v>1.763969630547348E-2</c:v>
                </c:pt>
                <c:pt idx="62">
                  <c:v>1.7801073731694136E-2</c:v>
                </c:pt>
                <c:pt idx="63">
                  <c:v>1.8000571809777936E-2</c:v>
                </c:pt>
                <c:pt idx="64">
                  <c:v>1.8207694018234369E-2</c:v>
                </c:pt>
                <c:pt idx="65">
                  <c:v>1.8395755900759224E-2</c:v>
                </c:pt>
                <c:pt idx="66">
                  <c:v>1.8402109342736415E-2</c:v>
                </c:pt>
                <c:pt idx="67">
                  <c:v>1.8408462784713607E-2</c:v>
                </c:pt>
                <c:pt idx="68">
                  <c:v>1.8571110899329699E-2</c:v>
                </c:pt>
                <c:pt idx="69">
                  <c:v>1.879348136853139E-2</c:v>
                </c:pt>
                <c:pt idx="70">
                  <c:v>1.9113694844181826E-2</c:v>
                </c:pt>
                <c:pt idx="71">
                  <c:v>1.9459322087741024E-2</c:v>
                </c:pt>
                <c:pt idx="72">
                  <c:v>1.9822738968836354E-2</c:v>
                </c:pt>
                <c:pt idx="73">
                  <c:v>1.9850694113535995E-2</c:v>
                </c:pt>
                <c:pt idx="74">
                  <c:v>1.9891356142190019E-2</c:v>
                </c:pt>
                <c:pt idx="75">
                  <c:v>2.0211569617840455E-2</c:v>
                </c:pt>
                <c:pt idx="76">
                  <c:v>2.0577527875726663E-2</c:v>
                </c:pt>
                <c:pt idx="77">
                  <c:v>2.101591537215285E-2</c:v>
                </c:pt>
                <c:pt idx="78">
                  <c:v>2.1547063121446032E-2</c:v>
                </c:pt>
                <c:pt idx="79">
                  <c:v>2.2088376377902716E-2</c:v>
                </c:pt>
                <c:pt idx="80">
                  <c:v>2.2135391848533931E-2</c:v>
                </c:pt>
                <c:pt idx="81">
                  <c:v>2.2162076304838133E-2</c:v>
                </c:pt>
                <c:pt idx="82">
                  <c:v>2.2707201626481134E-2</c:v>
                </c:pt>
                <c:pt idx="83">
                  <c:v>2.3218018361447299E-2</c:v>
                </c:pt>
                <c:pt idx="84">
                  <c:v>2.3775850567044683E-2</c:v>
                </c:pt>
                <c:pt idx="85">
                  <c:v>2.4389593062041345E-2</c:v>
                </c:pt>
                <c:pt idx="86">
                  <c:v>2.5110073382254822E-2</c:v>
                </c:pt>
                <c:pt idx="87">
                  <c:v>2.5244766352171273E-2</c:v>
                </c:pt>
                <c:pt idx="88">
                  <c:v>2.5364211061342467E-2</c:v>
                </c:pt>
                <c:pt idx="89">
                  <c:v>2.6191429206772754E-2</c:v>
                </c:pt>
                <c:pt idx="90">
                  <c:v>2.7063121446043378E-2</c:v>
                </c:pt>
                <c:pt idx="91">
                  <c:v>2.8147018647352185E-2</c:v>
                </c:pt>
                <c:pt idx="92">
                  <c:v>2.9393563963277088E-2</c:v>
                </c:pt>
                <c:pt idx="93">
                  <c:v>2.9793830807840128E-2</c:v>
                </c:pt>
                <c:pt idx="94">
                  <c:v>3.0148352870167396E-2</c:v>
                </c:pt>
                <c:pt idx="95">
                  <c:v>3.0462212903840637E-2</c:v>
                </c:pt>
                <c:pt idx="96">
                  <c:v>3.0720162648114599E-2</c:v>
                </c:pt>
                <c:pt idx="97">
                  <c:v>3.1901902855872147E-2</c:v>
                </c:pt>
                <c:pt idx="98">
                  <c:v>3.2757076146002075E-2</c:v>
                </c:pt>
                <c:pt idx="99">
                  <c:v>3.3832078528542815E-2</c:v>
                </c:pt>
                <c:pt idx="100">
                  <c:v>3.4990946345182482E-2</c:v>
                </c:pt>
                <c:pt idx="101">
                  <c:v>3.5508116522125842E-2</c:v>
                </c:pt>
                <c:pt idx="102">
                  <c:v>3.5781314527145058E-2</c:v>
                </c:pt>
                <c:pt idx="103">
                  <c:v>3.6457320753518194E-2</c:v>
                </c:pt>
                <c:pt idx="104">
                  <c:v>3.7374757775024595E-2</c:v>
                </c:pt>
                <c:pt idx="105">
                  <c:v>3.8181644906127875E-2</c:v>
                </c:pt>
                <c:pt idx="106">
                  <c:v>3.8969471711299573E-2</c:v>
                </c:pt>
                <c:pt idx="107">
                  <c:v>4.0214746338829037E-2</c:v>
                </c:pt>
                <c:pt idx="108">
                  <c:v>4.0608659741414886E-2</c:v>
                </c:pt>
                <c:pt idx="109">
                  <c:v>4.0841195717780082E-2</c:v>
                </c:pt>
                <c:pt idx="110">
                  <c:v>4.1306267670510474E-2</c:v>
                </c:pt>
                <c:pt idx="111">
                  <c:v>4.1813272340290329E-2</c:v>
                </c:pt>
                <c:pt idx="112">
                  <c:v>4.2338066647606316E-2</c:v>
                </c:pt>
                <c:pt idx="113">
                  <c:v>4.3052193525842601E-2</c:v>
                </c:pt>
                <c:pt idx="114">
                  <c:v>4.3856539280154996E-2</c:v>
                </c:pt>
                <c:pt idx="115">
                  <c:v>4.4077639060961252E-2</c:v>
                </c:pt>
                <c:pt idx="116">
                  <c:v>4.42288509800184E-2</c:v>
                </c:pt>
                <c:pt idx="117">
                  <c:v>4.4540169636900766E-2</c:v>
                </c:pt>
                <c:pt idx="118">
                  <c:v>4.5017948473585541E-2</c:v>
                </c:pt>
                <c:pt idx="119">
                  <c:v>4.5611359954255193E-2</c:v>
                </c:pt>
                <c:pt idx="120">
                  <c:v>4.6518631468598089E-2</c:v>
                </c:pt>
                <c:pt idx="121">
                  <c:v>4.7066298167031964E-2</c:v>
                </c:pt>
                <c:pt idx="122">
                  <c:v>4.719590838336666E-2</c:v>
                </c:pt>
                <c:pt idx="123">
                  <c:v>4.7274691063883829E-2</c:v>
                </c:pt>
                <c:pt idx="124">
                  <c:v>4.7488166714317451E-2</c:v>
                </c:pt>
                <c:pt idx="125">
                  <c:v>4.7720702690682647E-2</c:v>
                </c:pt>
                <c:pt idx="126">
                  <c:v>4.8006607579656253E-2</c:v>
                </c:pt>
                <c:pt idx="127">
                  <c:v>4.832936243209756E-2</c:v>
                </c:pt>
                <c:pt idx="128">
                  <c:v>4.8714381015915346E-2</c:v>
                </c:pt>
                <c:pt idx="129">
                  <c:v>4.8769020616919186E-2</c:v>
                </c:pt>
                <c:pt idx="130">
                  <c:v>4.8836367101877415E-2</c:v>
                </c:pt>
                <c:pt idx="131">
                  <c:v>4.9096858222942248E-2</c:v>
                </c:pt>
                <c:pt idx="132">
                  <c:v>4.9338289018075514E-2</c:v>
                </c:pt>
                <c:pt idx="133">
                  <c:v>4.964960767495788E-2</c:v>
                </c:pt>
                <c:pt idx="134">
                  <c:v>4.995076082467674E-2</c:v>
                </c:pt>
                <c:pt idx="135">
                  <c:v>5.0291305314654186E-2</c:v>
                </c:pt>
                <c:pt idx="136">
                  <c:v>5.0408208647034498E-2</c:v>
                </c:pt>
                <c:pt idx="137">
                  <c:v>5.0438705168525021E-2</c:v>
                </c:pt>
                <c:pt idx="138">
                  <c:v>5.0708091108357924E-2</c:v>
                </c:pt>
                <c:pt idx="139">
                  <c:v>5.1166809619111124E-2</c:v>
                </c:pt>
                <c:pt idx="140">
                  <c:v>5.1630610883446074E-2</c:v>
                </c:pt>
                <c:pt idx="141">
                  <c:v>5.2474347978017061E-2</c:v>
                </c:pt>
                <c:pt idx="142">
                  <c:v>5.3709457098383019E-2</c:v>
                </c:pt>
                <c:pt idx="143">
                  <c:v>5.4145303218018331E-2</c:v>
                </c:pt>
                <c:pt idx="144">
                  <c:v>5.4470599447250516E-2</c:v>
                </c:pt>
                <c:pt idx="145">
                  <c:v>5.565742240858982E-2</c:v>
                </c:pt>
                <c:pt idx="146">
                  <c:v>5.6916674608469102E-2</c:v>
                </c:pt>
                <c:pt idx="147">
                  <c:v>5.826868706121538E-2</c:v>
                </c:pt>
                <c:pt idx="148">
                  <c:v>6.0170907589186404E-2</c:v>
                </c:pt>
                <c:pt idx="149">
                  <c:v>6.2596651736077979E-2</c:v>
                </c:pt>
                <c:pt idx="150">
                  <c:v>6.3475968105721231E-2</c:v>
                </c:pt>
                <c:pt idx="151">
                  <c:v>6.4314622446710462E-2</c:v>
                </c:pt>
                <c:pt idx="152">
                  <c:v>6.6426506559928808E-2</c:v>
                </c:pt>
                <c:pt idx="153">
                  <c:v>6.8309666761968257E-2</c:v>
                </c:pt>
                <c:pt idx="154">
                  <c:v>7.0237301057848048E-2</c:v>
                </c:pt>
                <c:pt idx="155">
                  <c:v>7.2204326693986423E-2</c:v>
                </c:pt>
                <c:pt idx="156">
                  <c:v>7.4950284316528434E-2</c:v>
                </c:pt>
                <c:pt idx="157">
                  <c:v>7.5436957971981272E-2</c:v>
                </c:pt>
                <c:pt idx="158">
                  <c:v>7.5896947171129908E-2</c:v>
                </c:pt>
                <c:pt idx="159">
                  <c:v>7.7620000635344147E-2</c:v>
                </c:pt>
                <c:pt idx="160">
                  <c:v>7.898599066044025E-2</c:v>
                </c:pt>
                <c:pt idx="161">
                  <c:v>8.0254137679087595E-2</c:v>
                </c:pt>
                <c:pt idx="162">
                  <c:v>8.3108103815241863E-2</c:v>
                </c:pt>
                <c:pt idx="163">
                  <c:v>8.6460179802407902E-2</c:v>
                </c:pt>
                <c:pt idx="164">
                  <c:v>8.839925029384664E-2</c:v>
                </c:pt>
                <c:pt idx="165">
                  <c:v>9.0256996727977323E-2</c:v>
                </c:pt>
                <c:pt idx="166">
                  <c:v>9.3202452428603144E-2</c:v>
                </c:pt>
                <c:pt idx="167">
                  <c:v>9.6280059722354525E-2</c:v>
                </c:pt>
                <c:pt idx="168">
                  <c:v>9.9527939261094642E-2</c:v>
                </c:pt>
                <c:pt idx="169">
                  <c:v>0.10310746847104413</c:v>
                </c:pt>
                <c:pt idx="170">
                  <c:v>0.1069424060484767</c:v>
                </c:pt>
                <c:pt idx="171">
                  <c:v>0.10935544331141389</c:v>
                </c:pt>
                <c:pt idx="172">
                  <c:v>0.11146224467105048</c:v>
                </c:pt>
                <c:pt idx="173">
                  <c:v>0.11491724641824702</c:v>
                </c:pt>
                <c:pt idx="174">
                  <c:v>0.11832014994123059</c:v>
                </c:pt>
                <c:pt idx="175">
                  <c:v>0.12137615553225953</c:v>
                </c:pt>
                <c:pt idx="176">
                  <c:v>0.12482353314908344</c:v>
                </c:pt>
                <c:pt idx="177">
                  <c:v>0.1280498109851011</c:v>
                </c:pt>
                <c:pt idx="178">
                  <c:v>0.13025064328600011</c:v>
                </c:pt>
                <c:pt idx="179">
                  <c:v>0.13222402236411568</c:v>
                </c:pt>
                <c:pt idx="180">
                  <c:v>0.13508052987706082</c:v>
                </c:pt>
                <c:pt idx="181">
                  <c:v>0.1379815114838463</c:v>
                </c:pt>
                <c:pt idx="182">
                  <c:v>0.1409993964230121</c:v>
                </c:pt>
                <c:pt idx="183">
                  <c:v>0.14400584516661893</c:v>
                </c:pt>
                <c:pt idx="184">
                  <c:v>0.14703389561294822</c:v>
                </c:pt>
                <c:pt idx="185">
                  <c:v>0.14904158327774064</c:v>
                </c:pt>
                <c:pt idx="186">
                  <c:v>0.15086120906000816</c:v>
                </c:pt>
                <c:pt idx="187">
                  <c:v>0.15426792464817807</c:v>
                </c:pt>
                <c:pt idx="188">
                  <c:v>0.1622630960322754</c:v>
                </c:pt>
                <c:pt idx="189">
                  <c:v>0.17568537755328939</c:v>
                </c:pt>
                <c:pt idx="190">
                  <c:v>0.18955621207789308</c:v>
                </c:pt>
                <c:pt idx="191">
                  <c:v>0.20304202801867899</c:v>
                </c:pt>
                <c:pt idx="192">
                  <c:v>0.21054036024015998</c:v>
                </c:pt>
                <c:pt idx="193">
                  <c:v>0.21580228088566969</c:v>
                </c:pt>
                <c:pt idx="194">
                  <c:v>0.23059182312017523</c:v>
                </c:pt>
                <c:pt idx="195">
                  <c:v>0.24681216048794419</c:v>
                </c:pt>
                <c:pt idx="196">
                  <c:v>0.26706058006925237</c:v>
                </c:pt>
                <c:pt idx="197">
                  <c:v>0.28631023857174609</c:v>
                </c:pt>
                <c:pt idx="198">
                  <c:v>0.30345309571460322</c:v>
                </c:pt>
                <c:pt idx="199">
                  <c:v>0.3150036532291367</c:v>
                </c:pt>
                <c:pt idx="200">
                  <c:v>0.32247021824073174</c:v>
                </c:pt>
                <c:pt idx="201">
                  <c:v>0.34023952476253988</c:v>
                </c:pt>
                <c:pt idx="202">
                  <c:v>0.35333269798913541</c:v>
                </c:pt>
                <c:pt idx="203">
                  <c:v>0.36165824835604665</c:v>
                </c:pt>
                <c:pt idx="204">
                  <c:v>0.37170939356396304</c:v>
                </c:pt>
                <c:pt idx="205">
                  <c:v>0.38173258362717982</c:v>
                </c:pt>
                <c:pt idx="206">
                  <c:v>0.3917138409733471</c:v>
                </c:pt>
                <c:pt idx="207">
                  <c:v>0.40169636900790978</c:v>
                </c:pt>
                <c:pt idx="208">
                  <c:v>0.41171701769433566</c:v>
                </c:pt>
                <c:pt idx="209">
                  <c:v>0.421727500873598</c:v>
                </c:pt>
                <c:pt idx="210">
                  <c:v>0.43177102195114175</c:v>
                </c:pt>
                <c:pt idx="211">
                  <c:v>0.44180310683312657</c:v>
                </c:pt>
                <c:pt idx="212">
                  <c:v>0.45182629689634335</c:v>
                </c:pt>
                <c:pt idx="213">
                  <c:v>0.46180882493090603</c:v>
                </c:pt>
                <c:pt idx="214">
                  <c:v>0.47178881158867791</c:v>
                </c:pt>
                <c:pt idx="215">
                  <c:v>0.48180056545633571</c:v>
                </c:pt>
                <c:pt idx="216">
                  <c:v>0.49181867276597069</c:v>
                </c:pt>
                <c:pt idx="217">
                  <c:v>0.50186473522030528</c:v>
                </c:pt>
                <c:pt idx="218">
                  <c:v>0.51192350455859437</c:v>
                </c:pt>
                <c:pt idx="219">
                  <c:v>0.52200514628800121</c:v>
                </c:pt>
                <c:pt idx="220">
                  <c:v>0.53198894501095939</c:v>
                </c:pt>
                <c:pt idx="221">
                  <c:v>0.54196766098033577</c:v>
                </c:pt>
                <c:pt idx="222">
                  <c:v>0.55201118205787958</c:v>
                </c:pt>
                <c:pt idx="223">
                  <c:v>0.56209663585247271</c:v>
                </c:pt>
                <c:pt idx="224">
                  <c:v>0.57218971377743855</c:v>
                </c:pt>
                <c:pt idx="225">
                  <c:v>0.58653324438514531</c:v>
                </c:pt>
                <c:pt idx="226">
                  <c:v>0.60087677499285197</c:v>
                </c:pt>
                <c:pt idx="227">
                  <c:v>0.61513771085485525</c:v>
                </c:pt>
                <c:pt idx="228">
                  <c:v>0.62939356396327673</c:v>
                </c:pt>
                <c:pt idx="229">
                  <c:v>0.64372184631023821</c:v>
                </c:pt>
                <c:pt idx="230">
                  <c:v>0.65806156485275857</c:v>
                </c:pt>
                <c:pt idx="231">
                  <c:v>0.67240890752565163</c:v>
                </c:pt>
                <c:pt idx="232">
                  <c:v>0.68676260364052188</c:v>
                </c:pt>
                <c:pt idx="233">
                  <c:v>0.70107944979192438</c:v>
                </c:pt>
                <c:pt idx="234">
                  <c:v>0.71533530290034586</c:v>
                </c:pt>
                <c:pt idx="235">
                  <c:v>0.72958861463197644</c:v>
                </c:pt>
                <c:pt idx="236">
                  <c:v>0.74391943835572882</c:v>
                </c:pt>
                <c:pt idx="237">
                  <c:v>0.75821214142761795</c:v>
                </c:pt>
                <c:pt idx="238">
                  <c:v>0.77252263413704325</c:v>
                </c:pt>
                <c:pt idx="239">
                  <c:v>0.78685091648400474</c:v>
                </c:pt>
                <c:pt idx="240">
                  <c:v>0.78690301470821766</c:v>
                </c:pt>
                <c:pt idx="241">
                  <c:v>0.78690936815019485</c:v>
                </c:pt>
                <c:pt idx="242">
                  <c:v>0.78690936815019485</c:v>
                </c:pt>
                <c:pt idx="243">
                  <c:v>0.78692969916452193</c:v>
                </c:pt>
                <c:pt idx="244">
                  <c:v>0.786969090504780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27A-4123-86A8-89323E6F14AF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9 40-44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G$5:$G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9.4943156785288706E-5</c:v>
                </c:pt>
                <c:pt idx="19">
                  <c:v>3.509696469928088E-4</c:v>
                </c:pt>
                <c:pt idx="20">
                  <c:v>7.0193929398561759E-4</c:v>
                </c:pt>
                <c:pt idx="21">
                  <c:v>1.0795783670417098E-3</c:v>
                </c:pt>
                <c:pt idx="22">
                  <c:v>1.3281374179515105E-3</c:v>
                </c:pt>
                <c:pt idx="23">
                  <c:v>1.4881539743312106E-3</c:v>
                </c:pt>
                <c:pt idx="24">
                  <c:v>1.6353692062005347E-3</c:v>
                </c:pt>
                <c:pt idx="25">
                  <c:v>1.7751169987721394E-3</c:v>
                </c:pt>
                <c:pt idx="26">
                  <c:v>2.2615673301664275E-3</c:v>
                </c:pt>
                <c:pt idx="27">
                  <c:v>2.8888322311748519E-3</c:v>
                </c:pt>
                <c:pt idx="28">
                  <c:v>3.5897047481179382E-3</c:v>
                </c:pt>
                <c:pt idx="29">
                  <c:v>4.4367257198878168E-3</c:v>
                </c:pt>
                <c:pt idx="30">
                  <c:v>5.5312389655249655E-3</c:v>
                </c:pt>
                <c:pt idx="31">
                  <c:v>5.6581854335861943E-3</c:v>
                </c:pt>
                <c:pt idx="32">
                  <c:v>5.7947328950302048E-3</c:v>
                </c:pt>
                <c:pt idx="33">
                  <c:v>6.944718546878983E-3</c:v>
                </c:pt>
                <c:pt idx="34">
                  <c:v>8.2707224107454302E-3</c:v>
                </c:pt>
                <c:pt idx="35">
                  <c:v>9.6425976874407252E-3</c:v>
                </c:pt>
                <c:pt idx="36">
                  <c:v>1.1164888527132939E-2</c:v>
                </c:pt>
                <c:pt idx="37">
                  <c:v>1.2418351552107257E-2</c:v>
                </c:pt>
                <c:pt idx="38">
                  <c:v>1.2583701993699613E-2</c:v>
                </c:pt>
                <c:pt idx="39">
                  <c:v>1.2708514907675779E-2</c:v>
                </c:pt>
                <c:pt idx="40">
                  <c:v>1.3812629146695709E-2</c:v>
                </c:pt>
                <c:pt idx="41">
                  <c:v>1.4787663363569349E-2</c:v>
                </c:pt>
                <c:pt idx="42">
                  <c:v>1.5657086653232385E-2</c:v>
                </c:pt>
                <c:pt idx="43">
                  <c:v>1.6666257735467028E-2</c:v>
                </c:pt>
                <c:pt idx="44">
                  <c:v>1.7581552437958912E-2</c:v>
                </c:pt>
                <c:pt idx="45">
                  <c:v>1.7689296919254575E-2</c:v>
                </c:pt>
                <c:pt idx="46">
                  <c:v>1.7711699237147736E-2</c:v>
                </c:pt>
                <c:pt idx="47">
                  <c:v>1.8263222968136435E-2</c:v>
                </c:pt>
                <c:pt idx="48">
                  <c:v>1.873260486685022E-2</c:v>
                </c:pt>
                <c:pt idx="49">
                  <c:v>1.9136913365969597E-2</c:v>
                </c:pt>
                <c:pt idx="50">
                  <c:v>1.9602028156513258E-2</c:v>
                </c:pt>
                <c:pt idx="51">
                  <c:v>1.9942330033080755E-2</c:v>
                </c:pt>
                <c:pt idx="52">
                  <c:v>1.9949797472378471E-2</c:v>
                </c:pt>
                <c:pt idx="53">
                  <c:v>1.9957264911676192E-2</c:v>
                </c:pt>
                <c:pt idx="54">
                  <c:v>2.0191955861033086E-2</c:v>
                </c:pt>
                <c:pt idx="55">
                  <c:v>2.0499187649282109E-2</c:v>
                </c:pt>
                <c:pt idx="56">
                  <c:v>2.0785083896680507E-2</c:v>
                </c:pt>
                <c:pt idx="57">
                  <c:v>2.1021908400122462E-2</c:v>
                </c:pt>
                <c:pt idx="58">
                  <c:v>2.1318472417946176E-2</c:v>
                </c:pt>
                <c:pt idx="59">
                  <c:v>2.1328073411328956E-2</c:v>
                </c:pt>
                <c:pt idx="60">
                  <c:v>2.1332340519499081E-2</c:v>
                </c:pt>
                <c:pt idx="61">
                  <c:v>2.1478488974325874E-2</c:v>
                </c:pt>
                <c:pt idx="62">
                  <c:v>2.1648106524088356E-2</c:v>
                </c:pt>
                <c:pt idx="63">
                  <c:v>2.1907333345423472E-2</c:v>
                </c:pt>
                <c:pt idx="64">
                  <c:v>2.2133490078440114E-2</c:v>
                </c:pt>
                <c:pt idx="65">
                  <c:v>2.2385249460477506E-2</c:v>
                </c:pt>
                <c:pt idx="66">
                  <c:v>2.2392716899775227E-2</c:v>
                </c:pt>
                <c:pt idx="67">
                  <c:v>2.2405518224285603E-2</c:v>
                </c:pt>
                <c:pt idx="68">
                  <c:v>2.2608205862366556E-2</c:v>
                </c:pt>
                <c:pt idx="69">
                  <c:v>2.2938906745551269E-2</c:v>
                </c:pt>
                <c:pt idx="70">
                  <c:v>2.3305878048182051E-2</c:v>
                </c:pt>
                <c:pt idx="71">
                  <c:v>2.3728321757024457E-2</c:v>
                </c:pt>
                <c:pt idx="72">
                  <c:v>2.4223306304758996E-2</c:v>
                </c:pt>
                <c:pt idx="73">
                  <c:v>2.4253176061949874E-2</c:v>
                </c:pt>
                <c:pt idx="74">
                  <c:v>2.4286246150268344E-2</c:v>
                </c:pt>
                <c:pt idx="75">
                  <c:v>2.4694821757557845E-2</c:v>
                </c:pt>
                <c:pt idx="76">
                  <c:v>2.5145001669506069E-2</c:v>
                </c:pt>
                <c:pt idx="77">
                  <c:v>2.5614383568219854E-2</c:v>
                </c:pt>
                <c:pt idx="78">
                  <c:v>2.6142438204272866E-2</c:v>
                </c:pt>
                <c:pt idx="79">
                  <c:v>2.6770769882323821E-2</c:v>
                </c:pt>
                <c:pt idx="80">
                  <c:v>2.6849711383471139E-2</c:v>
                </c:pt>
                <c:pt idx="81">
                  <c:v>2.6890248911087329E-2</c:v>
                </c:pt>
                <c:pt idx="82">
                  <c:v>2.7538849352946381E-2</c:v>
                </c:pt>
                <c:pt idx="83">
                  <c:v>2.8217319551996311E-2</c:v>
                </c:pt>
                <c:pt idx="84">
                  <c:v>2.9006734563469496E-2</c:v>
                </c:pt>
                <c:pt idx="85">
                  <c:v>2.9820685446920906E-2</c:v>
                </c:pt>
                <c:pt idx="86">
                  <c:v>3.0797853217879607E-2</c:v>
                </c:pt>
                <c:pt idx="87">
                  <c:v>3.0986672754407651E-2</c:v>
                </c:pt>
                <c:pt idx="88">
                  <c:v>3.1140288648532164E-2</c:v>
                </c:pt>
                <c:pt idx="89">
                  <c:v>3.2159060724149591E-2</c:v>
                </c:pt>
                <c:pt idx="90">
                  <c:v>3.3275976287679893E-2</c:v>
                </c:pt>
                <c:pt idx="91">
                  <c:v>3.4583844941823309E-2</c:v>
                </c:pt>
                <c:pt idx="92">
                  <c:v>3.6079466355452242E-2</c:v>
                </c:pt>
                <c:pt idx="93">
                  <c:v>3.6719532580971041E-2</c:v>
                </c:pt>
                <c:pt idx="94">
                  <c:v>3.721665068279064E-2</c:v>
                </c:pt>
                <c:pt idx="95">
                  <c:v>3.7686032581504429E-2</c:v>
                </c:pt>
                <c:pt idx="96">
                  <c:v>3.8049803553007612E-2</c:v>
                </c:pt>
                <c:pt idx="97">
                  <c:v>3.9572094392699826E-2</c:v>
                </c:pt>
                <c:pt idx="98">
                  <c:v>4.0609001678040282E-2</c:v>
                </c:pt>
                <c:pt idx="99">
                  <c:v>4.1953140751629765E-2</c:v>
                </c:pt>
                <c:pt idx="100">
                  <c:v>4.3488232915832356E-2</c:v>
                </c:pt>
                <c:pt idx="101">
                  <c:v>4.4056825079501552E-2</c:v>
                </c:pt>
                <c:pt idx="102">
                  <c:v>4.4387525962686268E-2</c:v>
                </c:pt>
                <c:pt idx="103">
                  <c:v>4.5480972431280887E-2</c:v>
                </c:pt>
                <c:pt idx="104">
                  <c:v>4.6873116471784278E-2</c:v>
                </c:pt>
                <c:pt idx="105">
                  <c:v>4.810204362478037E-2</c:v>
                </c:pt>
                <c:pt idx="106">
                  <c:v>4.9303234574670653E-2</c:v>
                </c:pt>
                <c:pt idx="107">
                  <c:v>5.1001543626380534E-2</c:v>
                </c:pt>
                <c:pt idx="108">
                  <c:v>5.1396251132117127E-2</c:v>
                </c:pt>
                <c:pt idx="109">
                  <c:v>5.1639476297814277E-2</c:v>
                </c:pt>
                <c:pt idx="110">
                  <c:v>5.2354216916310266E-2</c:v>
                </c:pt>
                <c:pt idx="111">
                  <c:v>5.3014551905637163E-2</c:v>
                </c:pt>
                <c:pt idx="112">
                  <c:v>5.3759162281324033E-2</c:v>
                </c:pt>
                <c:pt idx="113">
                  <c:v>5.4775800802856392E-2</c:v>
                </c:pt>
                <c:pt idx="114">
                  <c:v>5.5537479611223767E-2</c:v>
                </c:pt>
                <c:pt idx="115">
                  <c:v>5.5775370891708254E-2</c:v>
                </c:pt>
                <c:pt idx="116">
                  <c:v>5.6037798044170965E-2</c:v>
                </c:pt>
                <c:pt idx="117">
                  <c:v>5.6419704225397181E-2</c:v>
                </c:pt>
                <c:pt idx="118">
                  <c:v>5.7021366477384851E-2</c:v>
                </c:pt>
                <c:pt idx="119">
                  <c:v>5.7763843298986664E-2</c:v>
                </c:pt>
                <c:pt idx="120">
                  <c:v>5.8732476853605109E-2</c:v>
                </c:pt>
                <c:pt idx="121">
                  <c:v>5.9392811842932006E-2</c:v>
                </c:pt>
                <c:pt idx="122">
                  <c:v>5.9563496169737024E-2</c:v>
                </c:pt>
                <c:pt idx="123">
                  <c:v>5.9690442637798248E-2</c:v>
                </c:pt>
                <c:pt idx="124">
                  <c:v>5.9894197052921733E-2</c:v>
                </c:pt>
                <c:pt idx="125">
                  <c:v>6.0262235132595043E-2</c:v>
                </c:pt>
                <c:pt idx="126">
                  <c:v>6.0565199812673942E-2</c:v>
                </c:pt>
                <c:pt idx="127">
                  <c:v>6.099191062968648E-2</c:v>
                </c:pt>
                <c:pt idx="128">
                  <c:v>6.1545567914760242E-2</c:v>
                </c:pt>
                <c:pt idx="129">
                  <c:v>6.1623442638865024E-2</c:v>
                </c:pt>
                <c:pt idx="130">
                  <c:v>6.1701317362969813E-2</c:v>
                </c:pt>
                <c:pt idx="131">
                  <c:v>6.1977612616985429E-2</c:v>
                </c:pt>
                <c:pt idx="132">
                  <c:v>6.22795105200218E-2</c:v>
                </c:pt>
                <c:pt idx="133">
                  <c:v>6.2676351579843456E-2</c:v>
                </c:pt>
                <c:pt idx="134">
                  <c:v>6.3092394626430667E-2</c:v>
                </c:pt>
                <c:pt idx="135">
                  <c:v>6.3536173876123703E-2</c:v>
                </c:pt>
                <c:pt idx="136">
                  <c:v>6.3682322330950503E-2</c:v>
                </c:pt>
                <c:pt idx="137">
                  <c:v>6.3728193743779346E-2</c:v>
                </c:pt>
                <c:pt idx="138">
                  <c:v>6.4082363721899752E-2</c:v>
                </c:pt>
                <c:pt idx="139">
                  <c:v>6.4658423324866668E-2</c:v>
                </c:pt>
                <c:pt idx="140">
                  <c:v>6.5345427740256853E-2</c:v>
                </c:pt>
                <c:pt idx="141">
                  <c:v>6.6492213060978037E-2</c:v>
                </c:pt>
                <c:pt idx="142">
                  <c:v>6.8080644077307184E-2</c:v>
                </c:pt>
                <c:pt idx="143">
                  <c:v>6.8781516594250275E-2</c:v>
                </c:pt>
                <c:pt idx="144">
                  <c:v>6.9330906771153916E-2</c:v>
                </c:pt>
                <c:pt idx="145">
                  <c:v>7.0989745072290139E-2</c:v>
                </c:pt>
                <c:pt idx="146">
                  <c:v>7.2808599929806067E-2</c:v>
                </c:pt>
                <c:pt idx="147">
                  <c:v>7.4627454787321981E-2</c:v>
                </c:pt>
                <c:pt idx="148">
                  <c:v>7.7113045296419991E-2</c:v>
                </c:pt>
                <c:pt idx="149">
                  <c:v>8.0424321236437252E-2</c:v>
                </c:pt>
                <c:pt idx="150">
                  <c:v>8.1535902914754904E-2</c:v>
                </c:pt>
                <c:pt idx="151">
                  <c:v>8.2517337793883733E-2</c:v>
                </c:pt>
                <c:pt idx="152">
                  <c:v>8.5174679406829282E-2</c:v>
                </c:pt>
                <c:pt idx="153">
                  <c:v>8.7644268260289315E-2</c:v>
                </c:pt>
                <c:pt idx="154">
                  <c:v>8.9824760535223369E-2</c:v>
                </c:pt>
                <c:pt idx="155">
                  <c:v>9.235302212602263E-2</c:v>
                </c:pt>
                <c:pt idx="156">
                  <c:v>9.5807246189739084E-2</c:v>
                </c:pt>
                <c:pt idx="157">
                  <c:v>9.6512385814852303E-2</c:v>
                </c:pt>
                <c:pt idx="158">
                  <c:v>9.7126849391350342E-2</c:v>
                </c:pt>
                <c:pt idx="159">
                  <c:v>9.9152658995117354E-2</c:v>
                </c:pt>
                <c:pt idx="160">
                  <c:v>0.10078589464723282</c:v>
                </c:pt>
                <c:pt idx="161">
                  <c:v>0.10230498515579745</c:v>
                </c:pt>
                <c:pt idx="162">
                  <c:v>0.10520875226556774</c:v>
                </c:pt>
                <c:pt idx="163">
                  <c:v>0.10881872577749377</c:v>
                </c:pt>
                <c:pt idx="164">
                  <c:v>0.11058530855992565</c:v>
                </c:pt>
                <c:pt idx="165">
                  <c:v>0.11220574288753075</c:v>
                </c:pt>
                <c:pt idx="166">
                  <c:v>0.11528019432410605</c:v>
                </c:pt>
                <c:pt idx="167">
                  <c:v>0.11847305801240234</c:v>
                </c:pt>
                <c:pt idx="168">
                  <c:v>0.1216413858287204</c:v>
                </c:pt>
                <c:pt idx="169">
                  <c:v>0.12547858285070559</c:v>
                </c:pt>
                <c:pt idx="170">
                  <c:v>0.12947899676019811</c:v>
                </c:pt>
                <c:pt idx="171">
                  <c:v>0.1316818913530253</c:v>
                </c:pt>
                <c:pt idx="172">
                  <c:v>0.13354555084632755</c:v>
                </c:pt>
                <c:pt idx="173">
                  <c:v>0.13682695702915393</c:v>
                </c:pt>
                <c:pt idx="174">
                  <c:v>0.14022250835553116</c:v>
                </c:pt>
                <c:pt idx="175">
                  <c:v>0.14348257899750694</c:v>
                </c:pt>
                <c:pt idx="176">
                  <c:v>0.1470018764608178</c:v>
                </c:pt>
                <c:pt idx="177">
                  <c:v>0.15031421917787757</c:v>
                </c:pt>
                <c:pt idx="178">
                  <c:v>0.15214800891398894</c:v>
                </c:pt>
                <c:pt idx="179">
                  <c:v>0.15382818275597579</c:v>
                </c:pt>
                <c:pt idx="180">
                  <c:v>0.15763017613555746</c:v>
                </c:pt>
                <c:pt idx="181">
                  <c:v>0.16587956300545229</c:v>
                </c:pt>
                <c:pt idx="182">
                  <c:v>0.18165292835632058</c:v>
                </c:pt>
                <c:pt idx="183">
                  <c:v>0.20206143995698753</c:v>
                </c:pt>
                <c:pt idx="184">
                  <c:v>0.21959818775916012</c:v>
                </c:pt>
                <c:pt idx="185">
                  <c:v>0.2307172048734642</c:v>
                </c:pt>
                <c:pt idx="186">
                  <c:v>0.2380022252969107</c:v>
                </c:pt>
                <c:pt idx="187">
                  <c:v>0.25523067453379172</c:v>
                </c:pt>
                <c:pt idx="188">
                  <c:v>0.27357070544899043</c:v>
                </c:pt>
                <c:pt idx="189">
                  <c:v>0.2958322087725343</c:v>
                </c:pt>
                <c:pt idx="190">
                  <c:v>0.31521128052715852</c:v>
                </c:pt>
                <c:pt idx="191">
                  <c:v>0.33497332524005147</c:v>
                </c:pt>
                <c:pt idx="192">
                  <c:v>0.34663106476083388</c:v>
                </c:pt>
                <c:pt idx="193">
                  <c:v>0.35644007966690949</c:v>
                </c:pt>
                <c:pt idx="194">
                  <c:v>0.37545858078115812</c:v>
                </c:pt>
                <c:pt idx="195">
                  <c:v>0.39373780540493253</c:v>
                </c:pt>
                <c:pt idx="196">
                  <c:v>0.40986747428800629</c:v>
                </c:pt>
                <c:pt idx="197">
                  <c:v>0.42217381425064776</c:v>
                </c:pt>
                <c:pt idx="198">
                  <c:v>0.43695614372900443</c:v>
                </c:pt>
                <c:pt idx="199">
                  <c:v>0.44291089318041432</c:v>
                </c:pt>
                <c:pt idx="200">
                  <c:v>0.44689850576539647</c:v>
                </c:pt>
                <c:pt idx="201">
                  <c:v>0.45632561449024589</c:v>
                </c:pt>
                <c:pt idx="202">
                  <c:v>0.46489610124994263</c:v>
                </c:pt>
                <c:pt idx="203">
                  <c:v>0.47060549198157031</c:v>
                </c:pt>
                <c:pt idx="204">
                  <c:v>0.47789904662135702</c:v>
                </c:pt>
                <c:pt idx="205">
                  <c:v>0.48516913216620805</c:v>
                </c:pt>
                <c:pt idx="206">
                  <c:v>0.49235600910174165</c:v>
                </c:pt>
                <c:pt idx="207">
                  <c:v>0.49953861892910512</c:v>
                </c:pt>
                <c:pt idx="208">
                  <c:v>0.50678630215606302</c:v>
                </c:pt>
                <c:pt idx="209">
                  <c:v>0.51404678670753123</c:v>
                </c:pt>
                <c:pt idx="210">
                  <c:v>0.52130940481308463</c:v>
                </c:pt>
                <c:pt idx="211">
                  <c:v>0.52858482424314834</c:v>
                </c:pt>
                <c:pt idx="212">
                  <c:v>0.53582610680785103</c:v>
                </c:pt>
                <c:pt idx="213">
                  <c:v>0.54300978341225703</c:v>
                </c:pt>
                <c:pt idx="214">
                  <c:v>0.55018919290849289</c:v>
                </c:pt>
                <c:pt idx="215">
                  <c:v>0.55743260902728065</c:v>
                </c:pt>
                <c:pt idx="216">
                  <c:v>0.56466642415268564</c:v>
                </c:pt>
                <c:pt idx="217">
                  <c:v>0.57195357813021719</c:v>
                </c:pt>
                <c:pt idx="218">
                  <c:v>0.57929940484508791</c:v>
                </c:pt>
                <c:pt idx="219">
                  <c:v>0.58662176246502296</c:v>
                </c:pt>
                <c:pt idx="220">
                  <c:v>0.59380650584647154</c:v>
                </c:pt>
                <c:pt idx="221">
                  <c:v>0.60098804889679247</c:v>
                </c:pt>
                <c:pt idx="222">
                  <c:v>0.60828907097587692</c:v>
                </c:pt>
                <c:pt idx="223">
                  <c:v>0.6156306305825775</c:v>
                </c:pt>
                <c:pt idx="224">
                  <c:v>0.62298179118266095</c:v>
                </c:pt>
                <c:pt idx="225">
                  <c:v>0.63336046502944832</c:v>
                </c:pt>
                <c:pt idx="226">
                  <c:v>0.6437732757415966</c:v>
                </c:pt>
                <c:pt idx="227">
                  <c:v>0.65403673766779058</c:v>
                </c:pt>
                <c:pt idx="228">
                  <c:v>0.66429273215468687</c:v>
                </c:pt>
                <c:pt idx="229">
                  <c:v>0.67471301030613295</c:v>
                </c:pt>
                <c:pt idx="230">
                  <c:v>0.68519089441787573</c:v>
                </c:pt>
                <c:pt idx="231">
                  <c:v>0.69563784199538503</c:v>
                </c:pt>
                <c:pt idx="232">
                  <c:v>0.70614239553319103</c:v>
                </c:pt>
                <c:pt idx="233">
                  <c:v>0.71651786904885084</c:v>
                </c:pt>
                <c:pt idx="234">
                  <c:v>0.72677279675870454</c:v>
                </c:pt>
                <c:pt idx="235">
                  <c:v>0.7370309247996859</c:v>
                </c:pt>
                <c:pt idx="236">
                  <c:v>0.74737759533519721</c:v>
                </c:pt>
                <c:pt idx="237">
                  <c:v>0.75772319909366614</c:v>
                </c:pt>
                <c:pt idx="238">
                  <c:v>0.76806453574396483</c:v>
                </c:pt>
                <c:pt idx="239">
                  <c:v>0.77838453685341302</c:v>
                </c:pt>
                <c:pt idx="240">
                  <c:v>0.78868320242201051</c:v>
                </c:pt>
                <c:pt idx="241">
                  <c:v>0.78868853630722313</c:v>
                </c:pt>
                <c:pt idx="242">
                  <c:v>0.78868853630722313</c:v>
                </c:pt>
                <c:pt idx="243">
                  <c:v>0.78872480672666923</c:v>
                </c:pt>
                <c:pt idx="244">
                  <c:v>0.788757876814987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27A-4123-86A8-89323E6F14AF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10 45-49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H$5:$H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.2578856086451051E-4</c:v>
                </c:pt>
                <c:pt idx="19">
                  <c:v>4.3327170964442508E-4</c:v>
                </c:pt>
                <c:pt idx="20">
                  <c:v>8.9957879890983276E-4</c:v>
                </c:pt>
                <c:pt idx="21">
                  <c:v>1.3252269594109542E-3</c:v>
                </c:pt>
                <c:pt idx="22">
                  <c:v>1.6377924742864045E-3</c:v>
                </c:pt>
                <c:pt idx="23">
                  <c:v>1.8029693723913174E-3</c:v>
                </c:pt>
                <c:pt idx="24">
                  <c:v>1.9643344959245782E-3</c:v>
                </c:pt>
                <c:pt idx="25">
                  <c:v>2.132052577077259E-3</c:v>
                </c:pt>
                <c:pt idx="26">
                  <c:v>2.7622659729236955E-3</c:v>
                </c:pt>
                <c:pt idx="27">
                  <c:v>3.5614680414466967E-3</c:v>
                </c:pt>
                <c:pt idx="28">
                  <c:v>4.4978939945491637E-3</c:v>
                </c:pt>
                <c:pt idx="29">
                  <c:v>5.6757323371895802E-3</c:v>
                </c:pt>
                <c:pt idx="30">
                  <c:v>7.2233128132802244E-3</c:v>
                </c:pt>
                <c:pt idx="31">
                  <c:v>7.4088191757672806E-3</c:v>
                </c:pt>
                <c:pt idx="32">
                  <c:v>7.5778078484438453E-3</c:v>
                </c:pt>
                <c:pt idx="33">
                  <c:v>9.0402586924342651E-3</c:v>
                </c:pt>
                <c:pt idx="34">
                  <c:v>1.0951228344355718E-2</c:v>
                </c:pt>
                <c:pt idx="35">
                  <c:v>1.2888880418278733E-2</c:v>
                </c:pt>
                <c:pt idx="36">
                  <c:v>1.501712122078434E-2</c:v>
                </c:pt>
                <c:pt idx="37">
                  <c:v>1.6713360905169408E-2</c:v>
                </c:pt>
                <c:pt idx="38">
                  <c:v>1.6939526196420748E-2</c:v>
                </c:pt>
                <c:pt idx="39">
                  <c:v>1.7135197291098875E-2</c:v>
                </c:pt>
                <c:pt idx="40">
                  <c:v>1.8563342163944431E-2</c:v>
                </c:pt>
                <c:pt idx="41">
                  <c:v>1.9927957460595787E-2</c:v>
                </c:pt>
                <c:pt idx="42">
                  <c:v>2.1237937321720132E-2</c:v>
                </c:pt>
                <c:pt idx="43">
                  <c:v>2.2690223433519483E-2</c:v>
                </c:pt>
                <c:pt idx="44">
                  <c:v>2.394937963368847E-2</c:v>
                </c:pt>
                <c:pt idx="45">
                  <c:v>2.4081521152172401E-2</c:v>
                </c:pt>
                <c:pt idx="46">
                  <c:v>2.4112015348745616E-2</c:v>
                </c:pt>
                <c:pt idx="47">
                  <c:v>2.4824817193644509E-2</c:v>
                </c:pt>
                <c:pt idx="48">
                  <c:v>2.5438512899680455E-2</c:v>
                </c:pt>
                <c:pt idx="49">
                  <c:v>2.6101761675147873E-2</c:v>
                </c:pt>
                <c:pt idx="50">
                  <c:v>2.6743410394709264E-2</c:v>
                </c:pt>
                <c:pt idx="51">
                  <c:v>2.7278329426264406E-2</c:v>
                </c:pt>
                <c:pt idx="52">
                  <c:v>2.731263539740927E-2</c:v>
                </c:pt>
                <c:pt idx="53">
                  <c:v>2.7348211960078021E-2</c:v>
                </c:pt>
                <c:pt idx="54">
                  <c:v>2.7703977586765526E-2</c:v>
                </c:pt>
                <c:pt idx="55">
                  <c:v>2.8137249296409952E-2</c:v>
                </c:pt>
                <c:pt idx="56">
                  <c:v>2.855527390776777E-2</c:v>
                </c:pt>
                <c:pt idx="57">
                  <c:v>2.8982192659792776E-2</c:v>
                </c:pt>
                <c:pt idx="58">
                  <c:v>2.9373534849149029E-2</c:v>
                </c:pt>
                <c:pt idx="59">
                  <c:v>2.9379887806768451E-2</c:v>
                </c:pt>
                <c:pt idx="60">
                  <c:v>2.9392593722007289E-2</c:v>
                </c:pt>
                <c:pt idx="61">
                  <c:v>2.9584453042113764E-2</c:v>
                </c:pt>
                <c:pt idx="62">
                  <c:v>2.9829677206223367E-2</c:v>
                </c:pt>
                <c:pt idx="63">
                  <c:v>3.0185442832910872E-2</c:v>
                </c:pt>
                <c:pt idx="64">
                  <c:v>3.0492925981690785E-2</c:v>
                </c:pt>
                <c:pt idx="65">
                  <c:v>3.0844879833806637E-2</c:v>
                </c:pt>
                <c:pt idx="66">
                  <c:v>3.0866479889712663E-2</c:v>
                </c:pt>
                <c:pt idx="67">
                  <c:v>3.0872832847332086E-2</c:v>
                </c:pt>
                <c:pt idx="68">
                  <c:v>3.1162527714777625E-2</c:v>
                </c:pt>
                <c:pt idx="69">
                  <c:v>3.1533540439751734E-2</c:v>
                </c:pt>
                <c:pt idx="70">
                  <c:v>3.2026529951018706E-2</c:v>
                </c:pt>
                <c:pt idx="71">
                  <c:v>3.2702484641724962E-2</c:v>
                </c:pt>
                <c:pt idx="72">
                  <c:v>3.3353027501953542E-2</c:v>
                </c:pt>
                <c:pt idx="73">
                  <c:v>3.338606288157453E-2</c:v>
                </c:pt>
                <c:pt idx="74">
                  <c:v>3.3435615951005998E-2</c:v>
                </c:pt>
                <c:pt idx="75">
                  <c:v>3.3942581969035691E-2</c:v>
                </c:pt>
                <c:pt idx="76">
                  <c:v>3.4495289281925211E-2</c:v>
                </c:pt>
                <c:pt idx="77">
                  <c:v>3.5105173213389504E-2</c:v>
                </c:pt>
                <c:pt idx="78">
                  <c:v>3.5852281029433261E-2</c:v>
                </c:pt>
                <c:pt idx="79">
                  <c:v>3.6764565743581938E-2</c:v>
                </c:pt>
                <c:pt idx="80">
                  <c:v>3.6859860107873232E-2</c:v>
                </c:pt>
                <c:pt idx="81">
                  <c:v>3.6932283824734617E-2</c:v>
                </c:pt>
                <c:pt idx="82">
                  <c:v>3.7814074342310072E-2</c:v>
                </c:pt>
                <c:pt idx="83">
                  <c:v>3.8688241310742229E-2</c:v>
                </c:pt>
                <c:pt idx="84">
                  <c:v>3.9824150133094476E-2</c:v>
                </c:pt>
                <c:pt idx="85">
                  <c:v>4.1054082728214134E-2</c:v>
                </c:pt>
                <c:pt idx="86">
                  <c:v>4.231069774533535E-2</c:v>
                </c:pt>
                <c:pt idx="87">
                  <c:v>4.2527968895919505E-2</c:v>
                </c:pt>
                <c:pt idx="88">
                  <c:v>4.2789710749839602E-2</c:v>
                </c:pt>
                <c:pt idx="89">
                  <c:v>4.4250891002306135E-2</c:v>
                </c:pt>
                <c:pt idx="90">
                  <c:v>4.5886142293544777E-2</c:v>
                </c:pt>
                <c:pt idx="91">
                  <c:v>4.7637017413456849E-2</c:v>
                </c:pt>
                <c:pt idx="92">
                  <c:v>4.9650904978812901E-2</c:v>
                </c:pt>
                <c:pt idx="93">
                  <c:v>5.0394201020285009E-2</c:v>
                </c:pt>
                <c:pt idx="94">
                  <c:v>5.1113355822803318E-2</c:v>
                </c:pt>
                <c:pt idx="95">
                  <c:v>5.177025164065132E-2</c:v>
                </c:pt>
                <c:pt idx="96">
                  <c:v>5.2207335124867395E-2</c:v>
                </c:pt>
                <c:pt idx="97">
                  <c:v>5.4324140603658047E-2</c:v>
                </c:pt>
                <c:pt idx="98">
                  <c:v>5.5735767786693112E-2</c:v>
                </c:pt>
                <c:pt idx="99">
                  <c:v>5.7447254569364788E-2</c:v>
                </c:pt>
                <c:pt idx="100">
                  <c:v>5.9531024668534452E-2</c:v>
                </c:pt>
                <c:pt idx="101">
                  <c:v>6.0297191357436469E-2</c:v>
                </c:pt>
                <c:pt idx="102">
                  <c:v>6.0785098502607909E-2</c:v>
                </c:pt>
                <c:pt idx="103">
                  <c:v>6.238604382270168E-2</c:v>
                </c:pt>
                <c:pt idx="104">
                  <c:v>6.4365625416912861E-2</c:v>
                </c:pt>
                <c:pt idx="105">
                  <c:v>6.6155888874065344E-2</c:v>
                </c:pt>
                <c:pt idx="106">
                  <c:v>6.7821634361877187E-2</c:v>
                </c:pt>
                <c:pt idx="107">
                  <c:v>7.016079335734754E-2</c:v>
                </c:pt>
                <c:pt idx="108">
                  <c:v>7.076432433119241E-2</c:v>
                </c:pt>
                <c:pt idx="109">
                  <c:v>7.100827790377813E-2</c:v>
                </c:pt>
                <c:pt idx="110">
                  <c:v>7.2102257205842207E-2</c:v>
                </c:pt>
                <c:pt idx="111">
                  <c:v>7.3191154141810738E-2</c:v>
                </c:pt>
                <c:pt idx="112">
                  <c:v>7.4197462628726826E-2</c:v>
                </c:pt>
                <c:pt idx="113">
                  <c:v>7.5506171898327284E-2</c:v>
                </c:pt>
                <c:pt idx="114">
                  <c:v>7.6443868442953644E-2</c:v>
                </c:pt>
                <c:pt idx="115">
                  <c:v>7.6714504437540923E-2</c:v>
                </c:pt>
                <c:pt idx="116">
                  <c:v>7.7169376203091375E-2</c:v>
                </c:pt>
                <c:pt idx="117">
                  <c:v>7.7691589319407672E-2</c:v>
                </c:pt>
                <c:pt idx="118">
                  <c:v>7.8875780619667504E-2</c:v>
                </c:pt>
                <c:pt idx="119">
                  <c:v>8.0026936540306362E-2</c:v>
                </c:pt>
                <c:pt idx="120">
                  <c:v>8.1206045474470662E-2</c:v>
                </c:pt>
                <c:pt idx="121">
                  <c:v>8.2147553793668671E-2</c:v>
                </c:pt>
                <c:pt idx="122">
                  <c:v>8.2392777957778274E-2</c:v>
                </c:pt>
                <c:pt idx="123">
                  <c:v>8.2574472545693667E-2</c:v>
                </c:pt>
                <c:pt idx="124">
                  <c:v>8.2932779355428948E-2</c:v>
                </c:pt>
                <c:pt idx="125">
                  <c:v>8.346515720393631E-2</c:v>
                </c:pt>
                <c:pt idx="126">
                  <c:v>8.4077582318448377E-2</c:v>
                </c:pt>
                <c:pt idx="127">
                  <c:v>8.4899655034401292E-2</c:v>
                </c:pt>
                <c:pt idx="128">
                  <c:v>8.5824645663788807E-2</c:v>
                </c:pt>
                <c:pt idx="129">
                  <c:v>8.5961869548368264E-2</c:v>
                </c:pt>
                <c:pt idx="130">
                  <c:v>8.6078763968565591E-2</c:v>
                </c:pt>
                <c:pt idx="131">
                  <c:v>8.6584459395071395E-2</c:v>
                </c:pt>
                <c:pt idx="132">
                  <c:v>8.7129543158817616E-2</c:v>
                </c:pt>
                <c:pt idx="133">
                  <c:v>8.7747050639425214E-2</c:v>
                </c:pt>
                <c:pt idx="134">
                  <c:v>8.8472558399562945E-2</c:v>
                </c:pt>
                <c:pt idx="135">
                  <c:v>8.9274301651133717E-2</c:v>
                </c:pt>
                <c:pt idx="136">
                  <c:v>8.9457266830572993E-2</c:v>
                </c:pt>
                <c:pt idx="137">
                  <c:v>8.9544937645720996E-2</c:v>
                </c:pt>
                <c:pt idx="138">
                  <c:v>9.0148468619565866E-2</c:v>
                </c:pt>
                <c:pt idx="139">
                  <c:v>9.1049318009999589E-2</c:v>
                </c:pt>
                <c:pt idx="140">
                  <c:v>9.2272897647499824E-2</c:v>
                </c:pt>
                <c:pt idx="141">
                  <c:v>9.3848431137115912E-2</c:v>
                </c:pt>
                <c:pt idx="142">
                  <c:v>9.6150742978393614E-2</c:v>
                </c:pt>
                <c:pt idx="143">
                  <c:v>9.7173569155120196E-2</c:v>
                </c:pt>
                <c:pt idx="144">
                  <c:v>9.7801241367918859E-2</c:v>
                </c:pt>
                <c:pt idx="145">
                  <c:v>0.10002477653471577</c:v>
                </c:pt>
                <c:pt idx="146">
                  <c:v>0.10258247727229415</c:v>
                </c:pt>
                <c:pt idx="147">
                  <c:v>0.10532568437235958</c:v>
                </c:pt>
                <c:pt idx="148">
                  <c:v>0.10864955179883998</c:v>
                </c:pt>
                <c:pt idx="149">
                  <c:v>0.11314109283576973</c:v>
                </c:pt>
                <c:pt idx="150">
                  <c:v>0.11468486153728871</c:v>
                </c:pt>
                <c:pt idx="151">
                  <c:v>0.11593131182221887</c:v>
                </c:pt>
                <c:pt idx="152">
                  <c:v>0.1193631795282294</c:v>
                </c:pt>
                <c:pt idx="153">
                  <c:v>0.12297420063910758</c:v>
                </c:pt>
                <c:pt idx="154">
                  <c:v>0.12635524468416276</c:v>
                </c:pt>
                <c:pt idx="155">
                  <c:v>0.12981887717827037</c:v>
                </c:pt>
                <c:pt idx="156">
                  <c:v>0.13428246520167467</c:v>
                </c:pt>
                <c:pt idx="157">
                  <c:v>0.13563564517461107</c:v>
                </c:pt>
                <c:pt idx="158">
                  <c:v>0.13663560070390773</c:v>
                </c:pt>
                <c:pt idx="159">
                  <c:v>0.13942073732426136</c:v>
                </c:pt>
                <c:pt idx="160">
                  <c:v>0.14186789659926183</c:v>
                </c:pt>
                <c:pt idx="161">
                  <c:v>0.14430362055054735</c:v>
                </c:pt>
                <c:pt idx="162">
                  <c:v>0.14750297000768711</c:v>
                </c:pt>
                <c:pt idx="163">
                  <c:v>0.15167940434669364</c:v>
                </c:pt>
                <c:pt idx="164">
                  <c:v>0.15342011473441466</c:v>
                </c:pt>
                <c:pt idx="165">
                  <c:v>0.15491814214107383</c:v>
                </c:pt>
                <c:pt idx="166">
                  <c:v>0.15861556347557609</c:v>
                </c:pt>
                <c:pt idx="167">
                  <c:v>0.16242098508960851</c:v>
                </c:pt>
                <c:pt idx="168">
                  <c:v>0.16631534811031282</c:v>
                </c:pt>
                <c:pt idx="169">
                  <c:v>0.17091997179286822</c:v>
                </c:pt>
                <c:pt idx="170">
                  <c:v>0.1758358903987752</c:v>
                </c:pt>
                <c:pt idx="171">
                  <c:v>0.17804036669271384</c:v>
                </c:pt>
                <c:pt idx="172">
                  <c:v>0.17974931229233776</c:v>
                </c:pt>
                <c:pt idx="173">
                  <c:v>0.18350136906236703</c:v>
                </c:pt>
                <c:pt idx="174">
                  <c:v>0.18944646680262001</c:v>
                </c:pt>
                <c:pt idx="175">
                  <c:v>0.20361737406849764</c:v>
                </c:pt>
                <c:pt idx="176">
                  <c:v>0.22968991213859619</c:v>
                </c:pt>
                <c:pt idx="177">
                  <c:v>0.25602165087956708</c:v>
                </c:pt>
                <c:pt idx="178">
                  <c:v>0.26992065155933354</c:v>
                </c:pt>
                <c:pt idx="179">
                  <c:v>0.28222887165119731</c:v>
                </c:pt>
                <c:pt idx="180">
                  <c:v>0.32275311771395182</c:v>
                </c:pt>
                <c:pt idx="181">
                  <c:v>0.3575063370752255</c:v>
                </c:pt>
                <c:pt idx="182">
                  <c:v>0.39195588506229084</c:v>
                </c:pt>
                <c:pt idx="183">
                  <c:v>0.42090885411703433</c:v>
                </c:pt>
                <c:pt idx="184">
                  <c:v>0.44975128170919987</c:v>
                </c:pt>
                <c:pt idx="185">
                  <c:v>0.46305818673883642</c:v>
                </c:pt>
                <c:pt idx="186">
                  <c:v>0.47284301206426665</c:v>
                </c:pt>
                <c:pt idx="187">
                  <c:v>0.4888651711804432</c:v>
                </c:pt>
                <c:pt idx="188">
                  <c:v>0.50291283106850404</c:v>
                </c:pt>
                <c:pt idx="189">
                  <c:v>0.51993367512245336</c:v>
                </c:pt>
                <c:pt idx="190">
                  <c:v>0.53345149834505468</c:v>
                </c:pt>
                <c:pt idx="191">
                  <c:v>0.54821068948649054</c:v>
                </c:pt>
                <c:pt idx="192">
                  <c:v>0.55546957886243953</c:v>
                </c:pt>
                <c:pt idx="193">
                  <c:v>0.56103222855400348</c:v>
                </c:pt>
                <c:pt idx="194">
                  <c:v>0.57049178244931942</c:v>
                </c:pt>
                <c:pt idx="195">
                  <c:v>0.57958413539423292</c:v>
                </c:pt>
                <c:pt idx="196">
                  <c:v>0.58879465335086767</c:v>
                </c:pt>
                <c:pt idx="197">
                  <c:v>0.59686163893600686</c:v>
                </c:pt>
                <c:pt idx="198">
                  <c:v>0.60611535700445363</c:v>
                </c:pt>
                <c:pt idx="199">
                  <c:v>0.61042012108737242</c:v>
                </c:pt>
                <c:pt idx="200">
                  <c:v>0.61308709269600481</c:v>
                </c:pt>
                <c:pt idx="201">
                  <c:v>0.61955694473562184</c:v>
                </c:pt>
                <c:pt idx="202">
                  <c:v>0.62576886669589049</c:v>
                </c:pt>
                <c:pt idx="203">
                  <c:v>0.63001899534328221</c:v>
                </c:pt>
                <c:pt idx="204">
                  <c:v>0.63498192583557289</c:v>
                </c:pt>
                <c:pt idx="205">
                  <c:v>0.63985464432966788</c:v>
                </c:pt>
                <c:pt idx="206">
                  <c:v>0.64459649189680279</c:v>
                </c:pt>
                <c:pt idx="207">
                  <c:v>0.64931928059107935</c:v>
                </c:pt>
                <c:pt idx="208">
                  <c:v>0.6541869167190788</c:v>
                </c:pt>
                <c:pt idx="209">
                  <c:v>0.65909902355041405</c:v>
                </c:pt>
                <c:pt idx="210">
                  <c:v>0.6639819067767001</c:v>
                </c:pt>
                <c:pt idx="211">
                  <c:v>0.66891688425546536</c:v>
                </c:pt>
                <c:pt idx="212">
                  <c:v>0.67375529677841539</c:v>
                </c:pt>
                <c:pt idx="213">
                  <c:v>0.67847935606421594</c:v>
                </c:pt>
                <c:pt idx="214">
                  <c:v>0.68320468594154027</c:v>
                </c:pt>
                <c:pt idx="215">
                  <c:v>0.68803166314077535</c:v>
                </c:pt>
                <c:pt idx="216">
                  <c:v>0.69290819340944199</c:v>
                </c:pt>
                <c:pt idx="217">
                  <c:v>0.69781775905772958</c:v>
                </c:pt>
                <c:pt idx="218">
                  <c:v>0.70280101901440239</c:v>
                </c:pt>
                <c:pt idx="219">
                  <c:v>0.70777919660497968</c:v>
                </c:pt>
                <c:pt idx="220">
                  <c:v>0.71250833825687565</c:v>
                </c:pt>
                <c:pt idx="221">
                  <c:v>0.7172323975426762</c:v>
                </c:pt>
                <c:pt idx="222">
                  <c:v>0.72223852814677891</c:v>
                </c:pt>
                <c:pt idx="223">
                  <c:v>0.72732724719993413</c:v>
                </c:pt>
                <c:pt idx="224">
                  <c:v>0.73251888416652389</c:v>
                </c:pt>
                <c:pt idx="225">
                  <c:v>0.73974982052894744</c:v>
                </c:pt>
                <c:pt idx="226">
                  <c:v>0.74691214494908131</c:v>
                </c:pt>
                <c:pt idx="227">
                  <c:v>0.75368312717985886</c:v>
                </c:pt>
                <c:pt idx="228">
                  <c:v>0.76043505053777805</c:v>
                </c:pt>
                <c:pt idx="229">
                  <c:v>0.76742838628523535</c:v>
                </c:pt>
                <c:pt idx="230">
                  <c:v>0.77444713386317021</c:v>
                </c:pt>
                <c:pt idx="231">
                  <c:v>0.78149129327158284</c:v>
                </c:pt>
                <c:pt idx="232">
                  <c:v>0.78855832332742537</c:v>
                </c:pt>
                <c:pt idx="233">
                  <c:v>0.79545763530211511</c:v>
                </c:pt>
                <c:pt idx="234">
                  <c:v>0.80220320570241499</c:v>
                </c:pt>
                <c:pt idx="235">
                  <c:v>0.80220320570241499</c:v>
                </c:pt>
                <c:pt idx="236">
                  <c:v>0.80231247657346905</c:v>
                </c:pt>
                <c:pt idx="237">
                  <c:v>0.80243953572585736</c:v>
                </c:pt>
                <c:pt idx="238">
                  <c:v>0.80252974772405317</c:v>
                </c:pt>
                <c:pt idx="239">
                  <c:v>0.80262631267986839</c:v>
                </c:pt>
                <c:pt idx="240">
                  <c:v>0.80268348929844313</c:v>
                </c:pt>
                <c:pt idx="241">
                  <c:v>0.8026936540306342</c:v>
                </c:pt>
                <c:pt idx="242">
                  <c:v>0.8026936540306342</c:v>
                </c:pt>
                <c:pt idx="243">
                  <c:v>0.80274066591701787</c:v>
                </c:pt>
                <c:pt idx="244">
                  <c:v>0.802786407211877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227A-4123-86A8-89323E6F14AF}"/>
            </c:ext>
          </c:extLst>
        </c:ser>
        <c:ser>
          <c:idx val="7"/>
          <c:order val="7"/>
          <c:tx>
            <c:strRef>
              <c:f>List1!$I$1</c:f>
              <c:strCache>
                <c:ptCount val="1"/>
                <c:pt idx="0">
                  <c:v>11 50-54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I$5:$I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.4451556215831108E-6</c:v>
                </c:pt>
                <c:pt idx="18">
                  <c:v>1.0838667161873331E-4</c:v>
                </c:pt>
                <c:pt idx="19">
                  <c:v>4.0030810717852174E-4</c:v>
                </c:pt>
                <c:pt idx="20">
                  <c:v>7.9050012500596172E-4</c:v>
                </c:pt>
                <c:pt idx="21">
                  <c:v>1.1647954309959873E-3</c:v>
                </c:pt>
                <c:pt idx="22">
                  <c:v>1.4494910884478602E-3</c:v>
                </c:pt>
                <c:pt idx="23">
                  <c:v>1.6041227399572532E-3</c:v>
                </c:pt>
                <c:pt idx="24">
                  <c:v>1.7674253251961447E-3</c:v>
                </c:pt>
                <c:pt idx="25">
                  <c:v>1.9249472879487037E-3</c:v>
                </c:pt>
                <c:pt idx="26">
                  <c:v>2.3960680205847981E-3</c:v>
                </c:pt>
                <c:pt idx="27">
                  <c:v>3.1475489438080157E-3</c:v>
                </c:pt>
                <c:pt idx="28">
                  <c:v>4.0146423167578818E-3</c:v>
                </c:pt>
                <c:pt idx="29">
                  <c:v>5.0594898311624717E-3</c:v>
                </c:pt>
                <c:pt idx="30">
                  <c:v>6.4078200260995139E-3</c:v>
                </c:pt>
                <c:pt idx="31">
                  <c:v>6.5566710551225741E-3</c:v>
                </c:pt>
                <c:pt idx="32">
                  <c:v>6.7286445740909646E-3</c:v>
                </c:pt>
                <c:pt idx="33">
                  <c:v>7.9917105873546033E-3</c:v>
                </c:pt>
                <c:pt idx="34">
                  <c:v>9.5770463042312761E-3</c:v>
                </c:pt>
                <c:pt idx="35">
                  <c:v>1.1293891182672012E-2</c:v>
                </c:pt>
                <c:pt idx="36">
                  <c:v>1.3265083450511375E-2</c:v>
                </c:pt>
                <c:pt idx="37">
                  <c:v>1.4983373484573693E-2</c:v>
                </c:pt>
                <c:pt idx="38">
                  <c:v>1.5195811360946412E-2</c:v>
                </c:pt>
                <c:pt idx="39">
                  <c:v>1.5360559101806885E-2</c:v>
                </c:pt>
                <c:pt idx="40">
                  <c:v>1.6687211962420182E-2</c:v>
                </c:pt>
                <c:pt idx="41">
                  <c:v>1.7925710330116907E-2</c:v>
                </c:pt>
                <c:pt idx="42">
                  <c:v>1.9211898833325875E-2</c:v>
                </c:pt>
                <c:pt idx="43">
                  <c:v>2.0553003250155005E-2</c:v>
                </c:pt>
                <c:pt idx="44">
                  <c:v>2.1740921171096321E-2</c:v>
                </c:pt>
                <c:pt idx="45">
                  <c:v>2.1908559223199963E-2</c:v>
                </c:pt>
                <c:pt idx="46">
                  <c:v>2.1949023580604288E-2</c:v>
                </c:pt>
                <c:pt idx="47">
                  <c:v>2.268316263636851E-2</c:v>
                </c:pt>
                <c:pt idx="48">
                  <c:v>2.33941792021874E-2</c:v>
                </c:pt>
                <c:pt idx="49">
                  <c:v>2.4070512033088295E-2</c:v>
                </c:pt>
                <c:pt idx="50">
                  <c:v>2.4732393307773361E-2</c:v>
                </c:pt>
                <c:pt idx="51">
                  <c:v>2.5265655732137529E-2</c:v>
                </c:pt>
                <c:pt idx="52">
                  <c:v>2.5285887910839692E-2</c:v>
                </c:pt>
                <c:pt idx="53">
                  <c:v>2.5313345867649769E-2</c:v>
                </c:pt>
                <c:pt idx="54">
                  <c:v>2.5709318507963545E-2</c:v>
                </c:pt>
                <c:pt idx="55">
                  <c:v>2.616309737314064E-2</c:v>
                </c:pt>
                <c:pt idx="56">
                  <c:v>2.6553289390968078E-2</c:v>
                </c:pt>
                <c:pt idx="57">
                  <c:v>2.6894346117661692E-2</c:v>
                </c:pt>
                <c:pt idx="58">
                  <c:v>2.7249854400571139E-2</c:v>
                </c:pt>
                <c:pt idx="59">
                  <c:v>2.7259970489922222E-2</c:v>
                </c:pt>
                <c:pt idx="60">
                  <c:v>2.7275867201759636E-2</c:v>
                </c:pt>
                <c:pt idx="61">
                  <c:v>2.7465182588187021E-2</c:v>
                </c:pt>
                <c:pt idx="62">
                  <c:v>2.7683401087046072E-2</c:v>
                </c:pt>
                <c:pt idx="63">
                  <c:v>2.7989774078821691E-2</c:v>
                </c:pt>
                <c:pt idx="64">
                  <c:v>2.8277360047516732E-2</c:v>
                </c:pt>
                <c:pt idx="65">
                  <c:v>2.8596739439886599E-2</c:v>
                </c:pt>
                <c:pt idx="66">
                  <c:v>2.8608300684859263E-2</c:v>
                </c:pt>
                <c:pt idx="67">
                  <c:v>2.861986192983193E-2</c:v>
                </c:pt>
                <c:pt idx="68">
                  <c:v>2.8887215719824805E-2</c:v>
                </c:pt>
                <c:pt idx="69">
                  <c:v>2.9216711201545752E-2</c:v>
                </c:pt>
                <c:pt idx="70">
                  <c:v>2.9739857536558841E-2</c:v>
                </c:pt>
                <c:pt idx="71">
                  <c:v>3.0419080678702901E-2</c:v>
                </c:pt>
                <c:pt idx="72">
                  <c:v>3.1085297420252716E-2</c:v>
                </c:pt>
                <c:pt idx="73">
                  <c:v>3.1125761777657041E-2</c:v>
                </c:pt>
                <c:pt idx="74">
                  <c:v>3.1244264538626859E-2</c:v>
                </c:pt>
                <c:pt idx="75">
                  <c:v>3.1784752741098939E-2</c:v>
                </c:pt>
                <c:pt idx="76">
                  <c:v>3.2345473122273191E-2</c:v>
                </c:pt>
                <c:pt idx="77">
                  <c:v>3.3057934843713659E-2</c:v>
                </c:pt>
                <c:pt idx="78">
                  <c:v>3.3841209190611711E-2</c:v>
                </c:pt>
                <c:pt idx="79">
                  <c:v>3.4686625229237829E-2</c:v>
                </c:pt>
                <c:pt idx="80">
                  <c:v>3.4774779722154397E-2</c:v>
                </c:pt>
                <c:pt idx="81">
                  <c:v>3.4838366569504058E-2</c:v>
                </c:pt>
                <c:pt idx="82">
                  <c:v>3.5779162879154662E-2</c:v>
                </c:pt>
                <c:pt idx="83">
                  <c:v>3.6754642923723262E-2</c:v>
                </c:pt>
                <c:pt idx="84">
                  <c:v>3.7864522441099085E-2</c:v>
                </c:pt>
                <c:pt idx="85">
                  <c:v>3.8991743825933914E-2</c:v>
                </c:pt>
                <c:pt idx="86">
                  <c:v>4.0322732153411964E-2</c:v>
                </c:pt>
                <c:pt idx="87">
                  <c:v>4.0630550300809164E-2</c:v>
                </c:pt>
                <c:pt idx="88">
                  <c:v>4.0983168272475445E-2</c:v>
                </c:pt>
                <c:pt idx="89">
                  <c:v>4.2426878738436972E-2</c:v>
                </c:pt>
                <c:pt idx="90">
                  <c:v>4.4269452155955437E-2</c:v>
                </c:pt>
                <c:pt idx="91">
                  <c:v>4.5994967968125668E-2</c:v>
                </c:pt>
                <c:pt idx="92">
                  <c:v>4.806732112947585E-2</c:v>
                </c:pt>
                <c:pt idx="93">
                  <c:v>4.8834698764536486E-2</c:v>
                </c:pt>
                <c:pt idx="94">
                  <c:v>4.9583289376516536E-2</c:v>
                </c:pt>
                <c:pt idx="95">
                  <c:v>5.0183028959473526E-2</c:v>
                </c:pt>
                <c:pt idx="96">
                  <c:v>5.0701839827621865E-2</c:v>
                </c:pt>
                <c:pt idx="97">
                  <c:v>5.2831999213835371E-2</c:v>
                </c:pt>
                <c:pt idx="98">
                  <c:v>5.4311838570336474E-2</c:v>
                </c:pt>
                <c:pt idx="99">
                  <c:v>5.6085044518018948E-2</c:v>
                </c:pt>
                <c:pt idx="100">
                  <c:v>5.8164623457477048E-2</c:v>
                </c:pt>
                <c:pt idx="101">
                  <c:v>5.905339416475066E-2</c:v>
                </c:pt>
                <c:pt idx="102">
                  <c:v>5.9829442733540794E-2</c:v>
                </c:pt>
                <c:pt idx="103">
                  <c:v>6.1448017029713878E-2</c:v>
                </c:pt>
                <c:pt idx="104">
                  <c:v>6.3643208418898617E-2</c:v>
                </c:pt>
                <c:pt idx="105">
                  <c:v>6.556815570684732E-2</c:v>
                </c:pt>
                <c:pt idx="106">
                  <c:v>6.7277774807180141E-2</c:v>
                </c:pt>
                <c:pt idx="107">
                  <c:v>6.9517766020633961E-2</c:v>
                </c:pt>
                <c:pt idx="108">
                  <c:v>7.0561168379416978E-2</c:v>
                </c:pt>
                <c:pt idx="109">
                  <c:v>7.0842973725625674E-2</c:v>
                </c:pt>
                <c:pt idx="110">
                  <c:v>7.1821344081437449E-2</c:v>
                </c:pt>
                <c:pt idx="111">
                  <c:v>7.2915326886975856E-2</c:v>
                </c:pt>
                <c:pt idx="112">
                  <c:v>7.3802652438627894E-2</c:v>
                </c:pt>
                <c:pt idx="113">
                  <c:v>7.5028144405730371E-2</c:v>
                </c:pt>
                <c:pt idx="114">
                  <c:v>7.593859244732773E-2</c:v>
                </c:pt>
                <c:pt idx="115">
                  <c:v>7.6205946237320604E-2</c:v>
                </c:pt>
                <c:pt idx="116">
                  <c:v>7.6471854871691891E-2</c:v>
                </c:pt>
                <c:pt idx="117">
                  <c:v>7.6908291869409992E-2</c:v>
                </c:pt>
                <c:pt idx="118">
                  <c:v>7.786932035776277E-2</c:v>
                </c:pt>
                <c:pt idx="119">
                  <c:v>7.8911277560924184E-2</c:v>
                </c:pt>
                <c:pt idx="120">
                  <c:v>8.0081853614406506E-2</c:v>
                </c:pt>
                <c:pt idx="121">
                  <c:v>8.1064559437083017E-2</c:v>
                </c:pt>
                <c:pt idx="122">
                  <c:v>8.1346364783291727E-2</c:v>
                </c:pt>
                <c:pt idx="123">
                  <c:v>8.1625279818257276E-2</c:v>
                </c:pt>
                <c:pt idx="124">
                  <c:v>8.2047265259759541E-2</c:v>
                </c:pt>
                <c:pt idx="125">
                  <c:v>8.2641224220230194E-2</c:v>
                </c:pt>
                <c:pt idx="126">
                  <c:v>8.3411492166533999E-2</c:v>
                </c:pt>
                <c:pt idx="127">
                  <c:v>8.4274250072619114E-2</c:v>
                </c:pt>
                <c:pt idx="128">
                  <c:v>8.5254065584052463E-2</c:v>
                </c:pt>
                <c:pt idx="129">
                  <c:v>8.5392800523724444E-2</c:v>
                </c:pt>
                <c:pt idx="130">
                  <c:v>8.5553212797720171E-2</c:v>
                </c:pt>
                <c:pt idx="131">
                  <c:v>8.6200642516189405E-2</c:v>
                </c:pt>
                <c:pt idx="132">
                  <c:v>8.6826394900334891E-2</c:v>
                </c:pt>
                <c:pt idx="133">
                  <c:v>8.7501282575614195E-2</c:v>
                </c:pt>
                <c:pt idx="134">
                  <c:v>8.814004136035393E-2</c:v>
                </c:pt>
                <c:pt idx="135">
                  <c:v>8.895221881968364E-2</c:v>
                </c:pt>
                <c:pt idx="136">
                  <c:v>8.91530954510837E-2</c:v>
                </c:pt>
                <c:pt idx="137">
                  <c:v>8.9225353232162852E-2</c:v>
                </c:pt>
                <c:pt idx="138">
                  <c:v>8.9807750947660844E-2</c:v>
                </c:pt>
                <c:pt idx="139">
                  <c:v>9.0829475972120099E-2</c:v>
                </c:pt>
                <c:pt idx="140">
                  <c:v>9.220959959073198E-2</c:v>
                </c:pt>
                <c:pt idx="141">
                  <c:v>9.3942341181010122E-2</c:v>
                </c:pt>
                <c:pt idx="142">
                  <c:v>9.6081171500953133E-2</c:v>
                </c:pt>
                <c:pt idx="143">
                  <c:v>9.6876007092823846E-2</c:v>
                </c:pt>
                <c:pt idx="144">
                  <c:v>9.7370250315405263E-2</c:v>
                </c:pt>
                <c:pt idx="145">
                  <c:v>9.9673828376208737E-2</c:v>
                </c:pt>
                <c:pt idx="146">
                  <c:v>0.10242251436845982</c:v>
                </c:pt>
                <c:pt idx="147">
                  <c:v>0.10527525156546488</c:v>
                </c:pt>
                <c:pt idx="148">
                  <c:v>0.10882455377207301</c:v>
                </c:pt>
                <c:pt idx="149">
                  <c:v>0.11306897583266259</c:v>
                </c:pt>
                <c:pt idx="150">
                  <c:v>0.1148566333365609</c:v>
                </c:pt>
                <c:pt idx="151">
                  <c:v>0.11606189312496122</c:v>
                </c:pt>
                <c:pt idx="152">
                  <c:v>0.12002306468372052</c:v>
                </c:pt>
                <c:pt idx="153">
                  <c:v>0.12385417223653736</c:v>
                </c:pt>
                <c:pt idx="154">
                  <c:v>0.12743093239995557</c:v>
                </c:pt>
                <c:pt idx="155">
                  <c:v>0.13126637541963712</c:v>
                </c:pt>
                <c:pt idx="156">
                  <c:v>0.13596457634540382</c:v>
                </c:pt>
                <c:pt idx="157">
                  <c:v>0.13710769444207607</c:v>
                </c:pt>
                <c:pt idx="158">
                  <c:v>0.13798923937124177</c:v>
                </c:pt>
                <c:pt idx="159">
                  <c:v>0.140810183144572</c:v>
                </c:pt>
                <c:pt idx="160">
                  <c:v>0.14346059855455542</c:v>
                </c:pt>
                <c:pt idx="161">
                  <c:v>0.14605609805091868</c:v>
                </c:pt>
                <c:pt idx="162">
                  <c:v>0.14919497606099721</c:v>
                </c:pt>
                <c:pt idx="163">
                  <c:v>0.15301307721321977</c:v>
                </c:pt>
                <c:pt idx="164">
                  <c:v>0.15448858110285613</c:v>
                </c:pt>
                <c:pt idx="165">
                  <c:v>0.15572274400368813</c:v>
                </c:pt>
                <c:pt idx="166">
                  <c:v>0.1591636595386775</c:v>
                </c:pt>
                <c:pt idx="167">
                  <c:v>0.1628950513536051</c:v>
                </c:pt>
                <c:pt idx="168">
                  <c:v>0.16780569015574451</c:v>
                </c:pt>
                <c:pt idx="169">
                  <c:v>0.181420501266679</c:v>
                </c:pt>
                <c:pt idx="170">
                  <c:v>0.19833315750606614</c:v>
                </c:pt>
                <c:pt idx="171">
                  <c:v>0.20960103588754966</c:v>
                </c:pt>
                <c:pt idx="172">
                  <c:v>0.2192908043302644</c:v>
                </c:pt>
                <c:pt idx="173">
                  <c:v>0.25191085702063837</c:v>
                </c:pt>
                <c:pt idx="174">
                  <c:v>0.28478525710041103</c:v>
                </c:pt>
                <c:pt idx="175">
                  <c:v>0.32156302251407959</c:v>
                </c:pt>
                <c:pt idx="176">
                  <c:v>0.35377265100792399</c:v>
                </c:pt>
                <c:pt idx="177">
                  <c:v>0.38537386898508186</c:v>
                </c:pt>
                <c:pt idx="178">
                  <c:v>0.3970088168944475</c:v>
                </c:pt>
                <c:pt idx="179">
                  <c:v>0.4060063557944239</c:v>
                </c:pt>
                <c:pt idx="180">
                  <c:v>0.42525727382953254</c:v>
                </c:pt>
                <c:pt idx="181">
                  <c:v>0.44304569437559904</c:v>
                </c:pt>
                <c:pt idx="182">
                  <c:v>0.45940196570067671</c:v>
                </c:pt>
                <c:pt idx="183">
                  <c:v>0.47367143230818837</c:v>
                </c:pt>
                <c:pt idx="184">
                  <c:v>0.48788742815770142</c:v>
                </c:pt>
                <c:pt idx="185">
                  <c:v>0.49361891535290003</c:v>
                </c:pt>
                <c:pt idx="186">
                  <c:v>0.49823763271947963</c:v>
                </c:pt>
                <c:pt idx="187">
                  <c:v>0.50487234217816768</c:v>
                </c:pt>
                <c:pt idx="188">
                  <c:v>0.51179030213868604</c:v>
                </c:pt>
                <c:pt idx="189">
                  <c:v>0.52117225243400367</c:v>
                </c:pt>
                <c:pt idx="190">
                  <c:v>0.52915818239887191</c:v>
                </c:pt>
                <c:pt idx="191">
                  <c:v>0.53764269105318629</c:v>
                </c:pt>
                <c:pt idx="192">
                  <c:v>0.54164143665810682</c:v>
                </c:pt>
                <c:pt idx="193">
                  <c:v>0.54484390151553497</c:v>
                </c:pt>
                <c:pt idx="194">
                  <c:v>0.55044387954916951</c:v>
                </c:pt>
                <c:pt idx="195">
                  <c:v>0.55618692798934077</c:v>
                </c:pt>
                <c:pt idx="196">
                  <c:v>0.56226380737809778</c:v>
                </c:pt>
                <c:pt idx="197">
                  <c:v>0.56766579909157544</c:v>
                </c:pt>
                <c:pt idx="198">
                  <c:v>0.57351145358087918</c:v>
                </c:pt>
                <c:pt idx="199">
                  <c:v>0.57636563593350576</c:v>
                </c:pt>
                <c:pt idx="200">
                  <c:v>0.57833827335696675</c:v>
                </c:pt>
                <c:pt idx="201">
                  <c:v>0.58304225490521977</c:v>
                </c:pt>
                <c:pt idx="202">
                  <c:v>0.58778670081087714</c:v>
                </c:pt>
                <c:pt idx="203">
                  <c:v>0.59126085492516289</c:v>
                </c:pt>
                <c:pt idx="204">
                  <c:v>0.59489542131344442</c:v>
                </c:pt>
                <c:pt idx="205">
                  <c:v>0.59853143285734756</c:v>
                </c:pt>
                <c:pt idx="206">
                  <c:v>0.60191743247871676</c:v>
                </c:pt>
                <c:pt idx="207">
                  <c:v>0.60529331601073488</c:v>
                </c:pt>
                <c:pt idx="208">
                  <c:v>0.60886285039604515</c:v>
                </c:pt>
                <c:pt idx="209">
                  <c:v>0.61245117180443609</c:v>
                </c:pt>
                <c:pt idx="210">
                  <c:v>0.6160972994376902</c:v>
                </c:pt>
                <c:pt idx="211">
                  <c:v>0.61971741426975591</c:v>
                </c:pt>
                <c:pt idx="212">
                  <c:v>0.6232652713207425</c:v>
                </c:pt>
                <c:pt idx="213">
                  <c:v>0.62664982578649009</c:v>
                </c:pt>
                <c:pt idx="214">
                  <c:v>0.6296008335657628</c:v>
                </c:pt>
                <c:pt idx="215">
                  <c:v>0.63271947939713924</c:v>
                </c:pt>
                <c:pt idx="216">
                  <c:v>0.63591038300959468</c:v>
                </c:pt>
                <c:pt idx="217">
                  <c:v>0.63938309196825893</c:v>
                </c:pt>
                <c:pt idx="218">
                  <c:v>0.6430350002239994</c:v>
                </c:pt>
                <c:pt idx="219">
                  <c:v>0.64664210865547089</c:v>
                </c:pt>
                <c:pt idx="220">
                  <c:v>0.64962924532528321</c:v>
                </c:pt>
                <c:pt idx="221">
                  <c:v>0.65258025310455592</c:v>
                </c:pt>
                <c:pt idx="222">
                  <c:v>0.65607463939754385</c:v>
                </c:pt>
                <c:pt idx="223">
                  <c:v>0.65975689592133757</c:v>
                </c:pt>
                <c:pt idx="224">
                  <c:v>0.66335822373032272</c:v>
                </c:pt>
                <c:pt idx="225">
                  <c:v>0.66813012759279011</c:v>
                </c:pt>
                <c:pt idx="226">
                  <c:v>0.67280231571736837</c:v>
                </c:pt>
                <c:pt idx="227">
                  <c:v>0.67704095715547163</c:v>
                </c:pt>
                <c:pt idx="228">
                  <c:v>0.6812564761036296</c:v>
                </c:pt>
                <c:pt idx="229">
                  <c:v>0.68571622635183505</c:v>
                </c:pt>
                <c:pt idx="230">
                  <c:v>0.69030170513911826</c:v>
                </c:pt>
                <c:pt idx="231">
                  <c:v>0.69479758427786331</c:v>
                </c:pt>
                <c:pt idx="232">
                  <c:v>0.69933103746276948</c:v>
                </c:pt>
                <c:pt idx="233">
                  <c:v>0.70366939463876199</c:v>
                </c:pt>
                <c:pt idx="234">
                  <c:v>0.70787479749756888</c:v>
                </c:pt>
                <c:pt idx="235">
                  <c:v>0.71208020035637576</c:v>
                </c:pt>
                <c:pt idx="236">
                  <c:v>0.7163636416187481</c:v>
                </c:pt>
                <c:pt idx="237">
                  <c:v>0.72067743114917371</c:v>
                </c:pt>
                <c:pt idx="238">
                  <c:v>0.72497532396776188</c:v>
                </c:pt>
                <c:pt idx="239">
                  <c:v>0.7292804425644579</c:v>
                </c:pt>
                <c:pt idx="240">
                  <c:v>0.73354509680374969</c:v>
                </c:pt>
                <c:pt idx="241">
                  <c:v>0.73775194481817807</c:v>
                </c:pt>
                <c:pt idx="242">
                  <c:v>0.74195445736574184</c:v>
                </c:pt>
                <c:pt idx="243">
                  <c:v>0.74620755036006092</c:v>
                </c:pt>
                <c:pt idx="244">
                  <c:v>0.750462088510001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227A-4123-86A8-89323E6F14AF}"/>
            </c:ext>
          </c:extLst>
        </c:ser>
        <c:ser>
          <c:idx val="8"/>
          <c:order val="8"/>
          <c:tx>
            <c:strRef>
              <c:f>List1!$J$1</c:f>
              <c:strCache>
                <c:ptCount val="1"/>
                <c:pt idx="0">
                  <c:v>12 55-59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J$5:$J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8.2775263567582032E-5</c:v>
                </c:pt>
                <c:pt idx="19">
                  <c:v>3.135909023618012E-4</c:v>
                </c:pt>
                <c:pt idx="20">
                  <c:v>7.3542638015813269E-4</c:v>
                </c:pt>
                <c:pt idx="21">
                  <c:v>1.1875066657964653E-3</c:v>
                </c:pt>
                <c:pt idx="22">
                  <c:v>1.467669096332897E-3</c:v>
                </c:pt>
                <c:pt idx="23">
                  <c:v>1.6459542794015351E-3</c:v>
                </c:pt>
                <c:pt idx="24">
                  <c:v>1.7987701506032251E-3</c:v>
                </c:pt>
                <c:pt idx="25">
                  <c:v>1.9468105258298623E-3</c:v>
                </c:pt>
                <c:pt idx="26">
                  <c:v>2.4896252349941982E-3</c:v>
                </c:pt>
                <c:pt idx="27">
                  <c:v>3.2170924551939094E-3</c:v>
                </c:pt>
                <c:pt idx="28">
                  <c:v>4.0432532588780459E-3</c:v>
                </c:pt>
                <c:pt idx="29">
                  <c:v>5.0668012295310315E-3</c:v>
                </c:pt>
                <c:pt idx="30">
                  <c:v>6.405531934537502E-3</c:v>
                </c:pt>
                <c:pt idx="31">
                  <c:v>6.6029191015063516E-3</c:v>
                </c:pt>
                <c:pt idx="32">
                  <c:v>6.7732451246165686E-3</c:v>
                </c:pt>
                <c:pt idx="33">
                  <c:v>8.092873845722829E-3</c:v>
                </c:pt>
                <c:pt idx="34">
                  <c:v>9.7340526291493108E-3</c:v>
                </c:pt>
                <c:pt idx="35">
                  <c:v>1.1610822547345065E-2</c:v>
                </c:pt>
                <c:pt idx="36">
                  <c:v>1.3708857112384933E-2</c:v>
                </c:pt>
                <c:pt idx="37">
                  <c:v>1.5416892839462154E-2</c:v>
                </c:pt>
                <c:pt idx="38">
                  <c:v>1.5630198326347846E-2</c:v>
                </c:pt>
                <c:pt idx="39">
                  <c:v>1.5837136485266801E-2</c:v>
                </c:pt>
                <c:pt idx="40">
                  <c:v>1.7300030085624647E-2</c:v>
                </c:pt>
                <c:pt idx="41">
                  <c:v>1.865467911054796E-2</c:v>
                </c:pt>
                <c:pt idx="42">
                  <c:v>2.0138266526797701E-2</c:v>
                </c:pt>
                <c:pt idx="43">
                  <c:v>2.1669608902797968E-2</c:v>
                </c:pt>
                <c:pt idx="44">
                  <c:v>2.2928748008220225E-2</c:v>
                </c:pt>
                <c:pt idx="45">
                  <c:v>2.3124543343197392E-2</c:v>
                </c:pt>
                <c:pt idx="46">
                  <c:v>2.316593097498118E-2</c:v>
                </c:pt>
                <c:pt idx="47">
                  <c:v>2.3917275675056155E-2</c:v>
                </c:pt>
                <c:pt idx="48">
                  <c:v>2.4647926559239235E-2</c:v>
                </c:pt>
                <c:pt idx="49">
                  <c:v>2.543906705910632E-2</c:v>
                </c:pt>
                <c:pt idx="50">
                  <c:v>2.617767710324782E-2</c:v>
                </c:pt>
                <c:pt idx="51">
                  <c:v>2.6785756924071209E-2</c:v>
                </c:pt>
                <c:pt idx="52">
                  <c:v>2.6806450739963107E-2</c:v>
                </c:pt>
                <c:pt idx="53">
                  <c:v>2.683828737979679E-2</c:v>
                </c:pt>
                <c:pt idx="54">
                  <c:v>2.7290367665435123E-2</c:v>
                </c:pt>
                <c:pt idx="55">
                  <c:v>2.7809304894724197E-2</c:v>
                </c:pt>
                <c:pt idx="56">
                  <c:v>2.820885472463695E-2</c:v>
                </c:pt>
                <c:pt idx="57">
                  <c:v>2.8578159746707698E-2</c:v>
                </c:pt>
                <c:pt idx="58">
                  <c:v>2.9015913544420874E-2</c:v>
                </c:pt>
                <c:pt idx="59">
                  <c:v>2.9035015528321086E-2</c:v>
                </c:pt>
                <c:pt idx="60">
                  <c:v>2.9049342016246243E-2</c:v>
                </c:pt>
                <c:pt idx="61">
                  <c:v>2.921966803935646E-2</c:v>
                </c:pt>
                <c:pt idx="62">
                  <c:v>2.949187130993447E-2</c:v>
                </c:pt>
                <c:pt idx="63">
                  <c:v>2.9865951827980273E-2</c:v>
                </c:pt>
                <c:pt idx="64">
                  <c:v>3.0179542730342075E-2</c:v>
                </c:pt>
                <c:pt idx="65">
                  <c:v>3.0574317064279773E-2</c:v>
                </c:pt>
                <c:pt idx="66">
                  <c:v>3.0593419048179984E-2</c:v>
                </c:pt>
                <c:pt idx="67">
                  <c:v>3.0617296528055248E-2</c:v>
                </c:pt>
                <c:pt idx="68">
                  <c:v>3.0911785446516838E-2</c:v>
                </c:pt>
                <c:pt idx="69">
                  <c:v>3.1324069932363065E-2</c:v>
                </c:pt>
                <c:pt idx="70">
                  <c:v>3.1843007161652136E-2</c:v>
                </c:pt>
                <c:pt idx="71">
                  <c:v>3.2540229574009844E-2</c:v>
                </c:pt>
                <c:pt idx="72">
                  <c:v>3.3332961905868611E-2</c:v>
                </c:pt>
                <c:pt idx="73">
                  <c:v>3.3403002513502721E-2</c:v>
                </c:pt>
                <c:pt idx="74">
                  <c:v>3.3525573576862408E-2</c:v>
                </c:pt>
                <c:pt idx="75">
                  <c:v>3.4103408589843801E-2</c:v>
                </c:pt>
                <c:pt idx="76">
                  <c:v>3.4714672074650559E-2</c:v>
                </c:pt>
                <c:pt idx="77">
                  <c:v>3.5388017007133003E-2</c:v>
                </c:pt>
                <c:pt idx="78">
                  <c:v>3.6140953539199668E-2</c:v>
                </c:pt>
                <c:pt idx="79">
                  <c:v>3.7054665102426436E-2</c:v>
                </c:pt>
                <c:pt idx="80">
                  <c:v>3.7148583189935809E-2</c:v>
                </c:pt>
                <c:pt idx="81">
                  <c:v>3.7217031965578233E-2</c:v>
                </c:pt>
                <c:pt idx="82">
                  <c:v>3.8699027549836285E-2</c:v>
                </c:pt>
                <c:pt idx="83">
                  <c:v>4.0236737253803292E-2</c:v>
                </c:pt>
                <c:pt idx="84">
                  <c:v>4.2088037860132099E-2</c:v>
                </c:pt>
                <c:pt idx="85">
                  <c:v>4.4030072889986907E-2</c:v>
                </c:pt>
                <c:pt idx="86">
                  <c:v>4.5927536624074554E-2</c:v>
                </c:pt>
                <c:pt idx="87">
                  <c:v>4.6594514228590268E-2</c:v>
                </c:pt>
                <c:pt idx="88">
                  <c:v>4.7062512834145441E-2</c:v>
                </c:pt>
                <c:pt idx="89">
                  <c:v>4.9330873422295529E-2</c:v>
                </c:pt>
                <c:pt idx="90">
                  <c:v>5.1742498889697196E-2</c:v>
                </c:pt>
                <c:pt idx="91">
                  <c:v>5.4378572667926346E-2</c:v>
                </c:pt>
                <c:pt idx="92">
                  <c:v>5.7348931164409193E-2</c:v>
                </c:pt>
                <c:pt idx="93">
                  <c:v>5.8525295006263869E-2</c:v>
                </c:pt>
                <c:pt idx="94">
                  <c:v>5.9599781600650749E-2</c:v>
                </c:pt>
                <c:pt idx="95">
                  <c:v>6.0486432020018889E-2</c:v>
                </c:pt>
                <c:pt idx="96">
                  <c:v>6.105949153702523E-2</c:v>
                </c:pt>
                <c:pt idx="97">
                  <c:v>6.4182665904709765E-2</c:v>
                </c:pt>
                <c:pt idx="98">
                  <c:v>6.6681842131654068E-2</c:v>
                </c:pt>
                <c:pt idx="99">
                  <c:v>6.8902447760053623E-2</c:v>
                </c:pt>
                <c:pt idx="100">
                  <c:v>7.1672235425584249E-2</c:v>
                </c:pt>
                <c:pt idx="101">
                  <c:v>7.2651212100470083E-2</c:v>
                </c:pt>
                <c:pt idx="102">
                  <c:v>7.3300679553077258E-2</c:v>
                </c:pt>
                <c:pt idx="103">
                  <c:v>7.5215653439073438E-2</c:v>
                </c:pt>
                <c:pt idx="104">
                  <c:v>7.7304137012163196E-2</c:v>
                </c:pt>
                <c:pt idx="105">
                  <c:v>7.9373518601352749E-2</c:v>
                </c:pt>
                <c:pt idx="106">
                  <c:v>8.1290084319340608E-2</c:v>
                </c:pt>
                <c:pt idx="107">
                  <c:v>8.398505588126208E-2</c:v>
                </c:pt>
                <c:pt idx="108">
                  <c:v>8.507386896357412E-2</c:v>
                </c:pt>
                <c:pt idx="109">
                  <c:v>8.5371541546019086E-2</c:v>
                </c:pt>
                <c:pt idx="110">
                  <c:v>8.6635456147416398E-2</c:v>
                </c:pt>
                <c:pt idx="111">
                  <c:v>8.7932799220639069E-2</c:v>
                </c:pt>
                <c:pt idx="112">
                  <c:v>8.9088469246601854E-2</c:v>
                </c:pt>
                <c:pt idx="113">
                  <c:v>9.0804464133637491E-2</c:v>
                </c:pt>
                <c:pt idx="114">
                  <c:v>9.1885318055991122E-2</c:v>
                </c:pt>
                <c:pt idx="115">
                  <c:v>9.2187766134411125E-2</c:v>
                </c:pt>
                <c:pt idx="116">
                  <c:v>9.2736948171542197E-2</c:v>
                </c:pt>
                <c:pt idx="117">
                  <c:v>9.3438946079874963E-2</c:v>
                </c:pt>
                <c:pt idx="118">
                  <c:v>9.460416709778785E-2</c:v>
                </c:pt>
                <c:pt idx="119">
                  <c:v>9.5930163146860842E-2</c:v>
                </c:pt>
                <c:pt idx="120">
                  <c:v>9.7402607739168798E-2</c:v>
                </c:pt>
                <c:pt idx="121">
                  <c:v>9.8516890133347787E-2</c:v>
                </c:pt>
                <c:pt idx="122">
                  <c:v>9.8883011491435163E-2</c:v>
                </c:pt>
                <c:pt idx="123">
                  <c:v>9.9123378122179487E-2</c:v>
                </c:pt>
                <c:pt idx="124">
                  <c:v>9.9572274743834455E-2</c:v>
                </c:pt>
                <c:pt idx="125">
                  <c:v>0.10029974196403417</c:v>
                </c:pt>
                <c:pt idx="126">
                  <c:v>0.10118480055141062</c:v>
                </c:pt>
                <c:pt idx="127">
                  <c:v>0.10225451164982245</c:v>
                </c:pt>
                <c:pt idx="128">
                  <c:v>0.10343087549167712</c:v>
                </c:pt>
                <c:pt idx="129">
                  <c:v>0.10362348716267092</c:v>
                </c:pt>
                <c:pt idx="130">
                  <c:v>0.10379222135378946</c:v>
                </c:pt>
                <c:pt idx="131">
                  <c:v>0.10461201482950686</c:v>
                </c:pt>
                <c:pt idx="132">
                  <c:v>0.1053569922016151</c:v>
                </c:pt>
                <c:pt idx="133">
                  <c:v>0.10613380621355702</c:v>
                </c:pt>
                <c:pt idx="134">
                  <c:v>0.10698702816109978</c:v>
                </c:pt>
                <c:pt idx="135">
                  <c:v>0.10785935209254277</c:v>
                </c:pt>
                <c:pt idx="136">
                  <c:v>0.1080790249073952</c:v>
                </c:pt>
                <c:pt idx="137">
                  <c:v>0.10815384101100435</c:v>
                </c:pt>
                <c:pt idx="138">
                  <c:v>0.10884151243141196</c:v>
                </c:pt>
                <c:pt idx="139">
                  <c:v>0.11005926390505043</c:v>
                </c:pt>
                <c:pt idx="140">
                  <c:v>0.11161448376092596</c:v>
                </c:pt>
                <c:pt idx="141">
                  <c:v>0.11391945648488477</c:v>
                </c:pt>
                <c:pt idx="142">
                  <c:v>0.11666695850253184</c:v>
                </c:pt>
                <c:pt idx="143">
                  <c:v>0.11787834264820356</c:v>
                </c:pt>
                <c:pt idx="144">
                  <c:v>0.11858989154848643</c:v>
                </c:pt>
                <c:pt idx="145">
                  <c:v>0.12174490255600465</c:v>
                </c:pt>
                <c:pt idx="146">
                  <c:v>0.12655541883487451</c:v>
                </c:pt>
                <c:pt idx="147">
                  <c:v>0.13033601981512466</c:v>
                </c:pt>
                <c:pt idx="148">
                  <c:v>0.13525478066942906</c:v>
                </c:pt>
                <c:pt idx="149">
                  <c:v>0.14035978586676051</c:v>
                </c:pt>
                <c:pt idx="150">
                  <c:v>0.14249920806358415</c:v>
                </c:pt>
                <c:pt idx="151">
                  <c:v>0.14403532593555948</c:v>
                </c:pt>
                <c:pt idx="152">
                  <c:v>0.14872486298306134</c:v>
                </c:pt>
                <c:pt idx="153">
                  <c:v>0.15351946094201435</c:v>
                </c:pt>
                <c:pt idx="154">
                  <c:v>0.15822332447744139</c:v>
                </c:pt>
                <c:pt idx="155">
                  <c:v>0.1632200850993383</c:v>
                </c:pt>
                <c:pt idx="156">
                  <c:v>0.1689268027895264</c:v>
                </c:pt>
                <c:pt idx="157">
                  <c:v>0.17028145181444973</c:v>
                </c:pt>
                <c:pt idx="158">
                  <c:v>0.17127316314526903</c:v>
                </c:pt>
                <c:pt idx="159">
                  <c:v>0.17510629458124474</c:v>
                </c:pt>
                <c:pt idx="160">
                  <c:v>0.17853669252332435</c:v>
                </c:pt>
                <c:pt idx="161">
                  <c:v>0.18211353900863891</c:v>
                </c:pt>
                <c:pt idx="162">
                  <c:v>0.19106122663389619</c:v>
                </c:pt>
                <c:pt idx="163">
                  <c:v>0.20333902678575697</c:v>
                </c:pt>
                <c:pt idx="164">
                  <c:v>0.21055639303605345</c:v>
                </c:pt>
                <c:pt idx="165">
                  <c:v>0.21765596371896528</c:v>
                </c:pt>
                <c:pt idx="166">
                  <c:v>0.24547959510161463</c:v>
                </c:pt>
                <c:pt idx="167">
                  <c:v>0.27601730003008568</c:v>
                </c:pt>
                <c:pt idx="168">
                  <c:v>0.30976254642180051</c:v>
                </c:pt>
                <c:pt idx="169">
                  <c:v>0.34494999259798131</c:v>
                </c:pt>
                <c:pt idx="170">
                  <c:v>0.37896585042828246</c:v>
                </c:pt>
                <c:pt idx="171">
                  <c:v>0.39118475279645093</c:v>
                </c:pt>
                <c:pt idx="172">
                  <c:v>0.40178476202907648</c:v>
                </c:pt>
                <c:pt idx="173">
                  <c:v>0.42582620059948401</c:v>
                </c:pt>
                <c:pt idx="174">
                  <c:v>0.44909719248591634</c:v>
                </c:pt>
                <c:pt idx="175">
                  <c:v>0.46942170335574113</c:v>
                </c:pt>
                <c:pt idx="176">
                  <c:v>0.48766568981243452</c:v>
                </c:pt>
                <c:pt idx="177">
                  <c:v>0.50781987465914902</c:v>
                </c:pt>
                <c:pt idx="178">
                  <c:v>0.51486054755836863</c:v>
                </c:pt>
                <c:pt idx="179">
                  <c:v>0.52083946851913476</c:v>
                </c:pt>
                <c:pt idx="180">
                  <c:v>0.53296126913581043</c:v>
                </c:pt>
                <c:pt idx="181">
                  <c:v>0.54444792878780413</c:v>
                </c:pt>
                <c:pt idx="182">
                  <c:v>0.55543316136241727</c:v>
                </c:pt>
                <c:pt idx="183">
                  <c:v>0.56560655962127149</c:v>
                </c:pt>
                <c:pt idx="184">
                  <c:v>0.57501428669212551</c:v>
                </c:pt>
                <c:pt idx="185">
                  <c:v>0.57981684381103693</c:v>
                </c:pt>
                <c:pt idx="186">
                  <c:v>0.58337936380842637</c:v>
                </c:pt>
                <c:pt idx="187">
                  <c:v>0.58871996014052708</c:v>
                </c:pt>
                <c:pt idx="188">
                  <c:v>0.59464157514959248</c:v>
                </c:pt>
                <c:pt idx="189">
                  <c:v>0.60243836824486208</c:v>
                </c:pt>
                <c:pt idx="190">
                  <c:v>0.60946949015213148</c:v>
                </c:pt>
                <c:pt idx="191">
                  <c:v>0.61642420412380006</c:v>
                </c:pt>
                <c:pt idx="192">
                  <c:v>0.61938341979634115</c:v>
                </c:pt>
                <c:pt idx="193">
                  <c:v>0.62154831130503174</c:v>
                </c:pt>
                <c:pt idx="194">
                  <c:v>0.62620760354469163</c:v>
                </c:pt>
                <c:pt idx="195">
                  <c:v>0.63128077210218936</c:v>
                </c:pt>
                <c:pt idx="196">
                  <c:v>0.63666753156204892</c:v>
                </c:pt>
                <c:pt idx="197">
                  <c:v>0.64186327118290643</c:v>
                </c:pt>
                <c:pt idx="198">
                  <c:v>0.64712905141139798</c:v>
                </c:pt>
                <c:pt idx="199">
                  <c:v>0.64964892145423414</c:v>
                </c:pt>
                <c:pt idx="200">
                  <c:v>0.65122642695799327</c:v>
                </c:pt>
                <c:pt idx="201">
                  <c:v>0.6553795166242975</c:v>
                </c:pt>
                <c:pt idx="202">
                  <c:v>0.6595055451467432</c:v>
                </c:pt>
                <c:pt idx="203">
                  <c:v>0.66256822989874364</c:v>
                </c:pt>
                <c:pt idx="204">
                  <c:v>0.66571368991431179</c:v>
                </c:pt>
                <c:pt idx="205">
                  <c:v>0.66879070115423755</c:v>
                </c:pt>
                <c:pt idx="206">
                  <c:v>0.67145383607632525</c:v>
                </c:pt>
                <c:pt idx="207">
                  <c:v>0.67409468535052952</c:v>
                </c:pt>
                <c:pt idx="208">
                  <c:v>0.67715737010253008</c:v>
                </c:pt>
                <c:pt idx="209">
                  <c:v>0.68030442195008978</c:v>
                </c:pt>
                <c:pt idx="210">
                  <c:v>0.68359314684490957</c:v>
                </c:pt>
                <c:pt idx="211">
                  <c:v>0.687044238602881</c:v>
                </c:pt>
                <c:pt idx="212">
                  <c:v>0.69034251448965078</c:v>
                </c:pt>
                <c:pt idx="213">
                  <c:v>0.69297699643588828</c:v>
                </c:pt>
                <c:pt idx="214">
                  <c:v>0.69560829471814245</c:v>
                </c:pt>
                <c:pt idx="215">
                  <c:v>0.698922488924829</c:v>
                </c:pt>
                <c:pt idx="216">
                  <c:v>0.70240064182665918</c:v>
                </c:pt>
                <c:pt idx="217">
                  <c:v>0.70621944677470971</c:v>
                </c:pt>
                <c:pt idx="218">
                  <c:v>0.70999049676300974</c:v>
                </c:pt>
                <c:pt idx="219">
                  <c:v>0.71344158852098127</c:v>
                </c:pt>
                <c:pt idx="220">
                  <c:v>0.71609994794709397</c:v>
                </c:pt>
                <c:pt idx="221">
                  <c:v>0.71874238905328991</c:v>
                </c:pt>
                <c:pt idx="222">
                  <c:v>0.72213617485956072</c:v>
                </c:pt>
                <c:pt idx="223">
                  <c:v>0.72569869485695015</c:v>
                </c:pt>
                <c:pt idx="224">
                  <c:v>0.72917048043081356</c:v>
                </c:pt>
                <c:pt idx="225">
                  <c:v>0.73361487535159597</c:v>
                </c:pt>
                <c:pt idx="226">
                  <c:v>0.73792078088910196</c:v>
                </c:pt>
                <c:pt idx="227">
                  <c:v>0.74175072866109437</c:v>
                </c:pt>
                <c:pt idx="228">
                  <c:v>0.74551063582545263</c:v>
                </c:pt>
                <c:pt idx="229">
                  <c:v>0.74958731755615604</c:v>
                </c:pt>
                <c:pt idx="230">
                  <c:v>0.75372926439851851</c:v>
                </c:pt>
                <c:pt idx="231">
                  <c:v>0.7577725176573965</c:v>
                </c:pt>
                <c:pt idx="232">
                  <c:v>0.7618157709162745</c:v>
                </c:pt>
                <c:pt idx="233">
                  <c:v>0.76571735112789274</c:v>
                </c:pt>
                <c:pt idx="234">
                  <c:v>0.76946293180432579</c:v>
                </c:pt>
                <c:pt idx="235">
                  <c:v>0.77320532881677551</c:v>
                </c:pt>
                <c:pt idx="236">
                  <c:v>0.77709735803644353</c:v>
                </c:pt>
                <c:pt idx="237">
                  <c:v>0.78095277512030281</c:v>
                </c:pt>
                <c:pt idx="238">
                  <c:v>0.7848129677001372</c:v>
                </c:pt>
                <c:pt idx="239">
                  <c:v>0.78868907859988835</c:v>
                </c:pt>
                <c:pt idx="240">
                  <c:v>0.792507883547939</c:v>
                </c:pt>
                <c:pt idx="241">
                  <c:v>0.79625823972034715</c:v>
                </c:pt>
                <c:pt idx="242">
                  <c:v>0.80000222856478853</c:v>
                </c:pt>
                <c:pt idx="243">
                  <c:v>0.80379556420097209</c:v>
                </c:pt>
                <c:pt idx="244">
                  <c:v>0.80385287015267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227A-4123-86A8-89323E6F14AF}"/>
            </c:ext>
          </c:extLst>
        </c:ser>
        <c:ser>
          <c:idx val="9"/>
          <c:order val="9"/>
          <c:tx>
            <c:strRef>
              <c:f>List1!$K$1</c:f>
              <c:strCache>
                <c:ptCount val="1"/>
                <c:pt idx="0">
                  <c:v>13 60-64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K$5:$K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8.1006244845057196E-5</c:v>
                </c:pt>
                <c:pt idx="19">
                  <c:v>2.9898668551902929E-4</c:v>
                </c:pt>
                <c:pt idx="20">
                  <c:v>5.6998939554612973E-4</c:v>
                </c:pt>
                <c:pt idx="21">
                  <c:v>9.0285141981854666E-4</c:v>
                </c:pt>
                <c:pt idx="22">
                  <c:v>1.110521974784966E-3</c:v>
                </c:pt>
                <c:pt idx="23">
                  <c:v>1.2092023094143994E-3</c:v>
                </c:pt>
                <c:pt idx="24">
                  <c:v>1.3211382113821146E-3</c:v>
                </c:pt>
                <c:pt idx="25">
                  <c:v>1.4109815011193599E-3</c:v>
                </c:pt>
                <c:pt idx="26">
                  <c:v>1.7188052315305774E-3</c:v>
                </c:pt>
                <c:pt idx="27">
                  <c:v>2.1591846353246156E-3</c:v>
                </c:pt>
                <c:pt idx="28">
                  <c:v>2.7144456227170986E-3</c:v>
                </c:pt>
                <c:pt idx="29">
                  <c:v>3.4670672793684484E-3</c:v>
                </c:pt>
                <c:pt idx="30">
                  <c:v>4.4082125603864767E-3</c:v>
                </c:pt>
                <c:pt idx="31">
                  <c:v>4.5525509602922145E-3</c:v>
                </c:pt>
                <c:pt idx="32">
                  <c:v>4.6880523153057648E-3</c:v>
                </c:pt>
                <c:pt idx="33">
                  <c:v>5.6483445269235339E-3</c:v>
                </c:pt>
                <c:pt idx="34">
                  <c:v>6.8413455873689221E-3</c:v>
                </c:pt>
                <c:pt idx="35">
                  <c:v>8.0122540355838396E-3</c:v>
                </c:pt>
                <c:pt idx="36">
                  <c:v>9.4291268999646578E-3</c:v>
                </c:pt>
                <c:pt idx="37">
                  <c:v>1.0711971250147291E-2</c:v>
                </c:pt>
                <c:pt idx="38">
                  <c:v>1.0899022033698606E-2</c:v>
                </c:pt>
                <c:pt idx="39">
                  <c:v>1.1027159184635333E-2</c:v>
                </c:pt>
                <c:pt idx="40">
                  <c:v>1.2184812065511967E-2</c:v>
                </c:pt>
                <c:pt idx="41">
                  <c:v>1.3198126546482865E-2</c:v>
                </c:pt>
                <c:pt idx="42">
                  <c:v>1.4316012725344655E-2</c:v>
                </c:pt>
                <c:pt idx="43">
                  <c:v>1.5483975491928844E-2</c:v>
                </c:pt>
                <c:pt idx="44">
                  <c:v>1.6410392364793223E-2</c:v>
                </c:pt>
                <c:pt idx="45">
                  <c:v>1.6542948038176044E-2</c:v>
                </c:pt>
                <c:pt idx="46">
                  <c:v>1.6578296217744797E-2</c:v>
                </c:pt>
                <c:pt idx="47">
                  <c:v>1.716448686225994E-2</c:v>
                </c:pt>
                <c:pt idx="48">
                  <c:v>1.7700600919052682E-2</c:v>
                </c:pt>
                <c:pt idx="49">
                  <c:v>1.823229645339933E-2</c:v>
                </c:pt>
                <c:pt idx="50">
                  <c:v>1.8774301873453528E-2</c:v>
                </c:pt>
                <c:pt idx="51">
                  <c:v>1.9158713326263711E-2</c:v>
                </c:pt>
                <c:pt idx="52">
                  <c:v>1.918080593849418E-2</c:v>
                </c:pt>
                <c:pt idx="53">
                  <c:v>1.9198480028278557E-2</c:v>
                </c:pt>
                <c:pt idx="54">
                  <c:v>1.952986921173561E-2</c:v>
                </c:pt>
                <c:pt idx="55">
                  <c:v>1.9962884411452823E-2</c:v>
                </c:pt>
                <c:pt idx="56">
                  <c:v>2.0266289619417947E-2</c:v>
                </c:pt>
                <c:pt idx="57">
                  <c:v>2.0563803464121611E-2</c:v>
                </c:pt>
                <c:pt idx="58">
                  <c:v>2.0868681512902099E-2</c:v>
                </c:pt>
                <c:pt idx="59">
                  <c:v>2.0884882761871112E-2</c:v>
                </c:pt>
                <c:pt idx="60">
                  <c:v>2.0901084010840124E-2</c:v>
                </c:pt>
                <c:pt idx="61">
                  <c:v>2.105425945563805E-2</c:v>
                </c:pt>
                <c:pt idx="62">
                  <c:v>2.1228054671851081E-2</c:v>
                </c:pt>
                <c:pt idx="63">
                  <c:v>2.149169317780136E-2</c:v>
                </c:pt>
                <c:pt idx="64">
                  <c:v>2.1712619300106061E-2</c:v>
                </c:pt>
                <c:pt idx="65">
                  <c:v>2.2039589961117018E-2</c:v>
                </c:pt>
                <c:pt idx="66">
                  <c:v>2.204989984682457E-2</c:v>
                </c:pt>
                <c:pt idx="67">
                  <c:v>2.2063155414162851E-2</c:v>
                </c:pt>
                <c:pt idx="68">
                  <c:v>2.2272298809944635E-2</c:v>
                </c:pt>
                <c:pt idx="69">
                  <c:v>2.2572758336279031E-2</c:v>
                </c:pt>
                <c:pt idx="70">
                  <c:v>2.2938022858489469E-2</c:v>
                </c:pt>
                <c:pt idx="71">
                  <c:v>2.35080122540356E-2</c:v>
                </c:pt>
                <c:pt idx="72">
                  <c:v>2.4048544833274437E-2</c:v>
                </c:pt>
                <c:pt idx="73">
                  <c:v>2.4114822669965848E-2</c:v>
                </c:pt>
                <c:pt idx="74">
                  <c:v>2.4217921527041376E-2</c:v>
                </c:pt>
                <c:pt idx="75">
                  <c:v>2.4649463885943225E-2</c:v>
                </c:pt>
                <c:pt idx="76">
                  <c:v>2.5119300106044556E-2</c:v>
                </c:pt>
                <c:pt idx="77">
                  <c:v>2.5699599387298239E-2</c:v>
                </c:pt>
                <c:pt idx="78">
                  <c:v>2.6310828325674579E-2</c:v>
                </c:pt>
                <c:pt idx="79">
                  <c:v>2.7016319076234259E-2</c:v>
                </c:pt>
                <c:pt idx="80">
                  <c:v>2.7081124072110305E-2</c:v>
                </c:pt>
                <c:pt idx="81">
                  <c:v>2.7131200659832704E-2</c:v>
                </c:pt>
                <c:pt idx="82">
                  <c:v>2.8299163426416894E-2</c:v>
                </c:pt>
                <c:pt idx="83">
                  <c:v>2.9624720160245102E-2</c:v>
                </c:pt>
                <c:pt idx="84">
                  <c:v>3.1184458583716292E-2</c:v>
                </c:pt>
                <c:pt idx="85">
                  <c:v>3.2838458819370822E-2</c:v>
                </c:pt>
                <c:pt idx="86">
                  <c:v>3.4233239071521177E-2</c:v>
                </c:pt>
                <c:pt idx="87">
                  <c:v>3.4538117120301665E-2</c:v>
                </c:pt>
                <c:pt idx="88">
                  <c:v>3.4829739601743868E-2</c:v>
                </c:pt>
                <c:pt idx="89">
                  <c:v>3.6747378343348673E-2</c:v>
                </c:pt>
                <c:pt idx="90">
                  <c:v>3.8818192529751411E-2</c:v>
                </c:pt>
                <c:pt idx="91">
                  <c:v>4.0699010250972105E-2</c:v>
                </c:pt>
                <c:pt idx="92">
                  <c:v>4.3006951808648552E-2</c:v>
                </c:pt>
                <c:pt idx="93">
                  <c:v>4.3682985742900936E-2</c:v>
                </c:pt>
                <c:pt idx="94">
                  <c:v>4.4441498762813746E-2</c:v>
                </c:pt>
                <c:pt idx="95">
                  <c:v>4.4920172027807265E-2</c:v>
                </c:pt>
                <c:pt idx="96">
                  <c:v>4.5404736656062247E-2</c:v>
                </c:pt>
                <c:pt idx="97">
                  <c:v>4.7471132320018886E-2</c:v>
                </c:pt>
                <c:pt idx="98">
                  <c:v>4.8917462000706999E-2</c:v>
                </c:pt>
                <c:pt idx="99">
                  <c:v>5.0346117591610735E-2</c:v>
                </c:pt>
                <c:pt idx="100">
                  <c:v>5.2051667255803027E-2</c:v>
                </c:pt>
                <c:pt idx="101">
                  <c:v>5.2584835630965041E-2</c:v>
                </c:pt>
                <c:pt idx="102">
                  <c:v>5.2904442087899177E-2</c:v>
                </c:pt>
                <c:pt idx="103">
                  <c:v>5.3985507246376851E-2</c:v>
                </c:pt>
                <c:pt idx="104">
                  <c:v>5.5128431719099841E-2</c:v>
                </c:pt>
                <c:pt idx="105">
                  <c:v>5.6359726640744706E-2</c:v>
                </c:pt>
                <c:pt idx="106">
                  <c:v>5.7436373276776288E-2</c:v>
                </c:pt>
                <c:pt idx="107">
                  <c:v>5.912277601036884E-2</c:v>
                </c:pt>
                <c:pt idx="108">
                  <c:v>5.9561682573347513E-2</c:v>
                </c:pt>
                <c:pt idx="109">
                  <c:v>5.9810592671144143E-2</c:v>
                </c:pt>
                <c:pt idx="110">
                  <c:v>6.0701661364439774E-2</c:v>
                </c:pt>
                <c:pt idx="111">
                  <c:v>6.1545599151643732E-2</c:v>
                </c:pt>
                <c:pt idx="112">
                  <c:v>6.2477907387769573E-2</c:v>
                </c:pt>
                <c:pt idx="113">
                  <c:v>6.3797572758336321E-2</c:v>
                </c:pt>
                <c:pt idx="114">
                  <c:v>6.4771120537292379E-2</c:v>
                </c:pt>
                <c:pt idx="115">
                  <c:v>6.5011193590196817E-2</c:v>
                </c:pt>
                <c:pt idx="116">
                  <c:v>6.5239483916578342E-2</c:v>
                </c:pt>
                <c:pt idx="117">
                  <c:v>6.597737716507604E-2</c:v>
                </c:pt>
                <c:pt idx="118">
                  <c:v>6.7059915164369086E-2</c:v>
                </c:pt>
                <c:pt idx="119">
                  <c:v>6.84311299634736E-2</c:v>
                </c:pt>
                <c:pt idx="120">
                  <c:v>6.9927536231884108E-2</c:v>
                </c:pt>
                <c:pt idx="121">
                  <c:v>7.0983563096500585E-2</c:v>
                </c:pt>
                <c:pt idx="122">
                  <c:v>7.1257511488158412E-2</c:v>
                </c:pt>
                <c:pt idx="123">
                  <c:v>7.1438670908448271E-2</c:v>
                </c:pt>
                <c:pt idx="124">
                  <c:v>7.2049899846824611E-2</c:v>
                </c:pt>
                <c:pt idx="125">
                  <c:v>7.2986626605396537E-2</c:v>
                </c:pt>
                <c:pt idx="126">
                  <c:v>7.4089784376104681E-2</c:v>
                </c:pt>
                <c:pt idx="127">
                  <c:v>7.5321079297749546E-2</c:v>
                </c:pt>
                <c:pt idx="128">
                  <c:v>7.6525863084717857E-2</c:v>
                </c:pt>
                <c:pt idx="129">
                  <c:v>7.6782137386591315E-2</c:v>
                </c:pt>
                <c:pt idx="130">
                  <c:v>7.6916165900789493E-2</c:v>
                </c:pt>
                <c:pt idx="131">
                  <c:v>7.7798397549192932E-2</c:v>
                </c:pt>
                <c:pt idx="132">
                  <c:v>7.873070578531878E-2</c:v>
                </c:pt>
                <c:pt idx="133">
                  <c:v>7.9598209025568564E-2</c:v>
                </c:pt>
                <c:pt idx="134">
                  <c:v>8.0506951808648572E-2</c:v>
                </c:pt>
                <c:pt idx="135">
                  <c:v>8.1299340167314771E-2</c:v>
                </c:pt>
                <c:pt idx="136">
                  <c:v>8.1492282314127543E-2</c:v>
                </c:pt>
                <c:pt idx="137">
                  <c:v>8.1590962648756982E-2</c:v>
                </c:pt>
                <c:pt idx="138">
                  <c:v>8.2306763285024218E-2</c:v>
                </c:pt>
                <c:pt idx="139">
                  <c:v>8.3423176623070638E-2</c:v>
                </c:pt>
                <c:pt idx="140">
                  <c:v>8.4971132320018905E-2</c:v>
                </c:pt>
                <c:pt idx="141">
                  <c:v>8.7586897608106576E-2</c:v>
                </c:pt>
                <c:pt idx="142">
                  <c:v>9.032049016142342E-2</c:v>
                </c:pt>
                <c:pt idx="143">
                  <c:v>9.1333804642394309E-2</c:v>
                </c:pt>
                <c:pt idx="144">
                  <c:v>9.2071697890892021E-2</c:v>
                </c:pt>
                <c:pt idx="145">
                  <c:v>9.5656592435489643E-2</c:v>
                </c:pt>
                <c:pt idx="146">
                  <c:v>0.1000736420407683</c:v>
                </c:pt>
                <c:pt idx="147">
                  <c:v>0.10420054200542013</c:v>
                </c:pt>
                <c:pt idx="148">
                  <c:v>0.10973695063037595</c:v>
                </c:pt>
                <c:pt idx="149">
                  <c:v>0.11530576175326979</c:v>
                </c:pt>
                <c:pt idx="150">
                  <c:v>0.1168478260869566</c:v>
                </c:pt>
                <c:pt idx="151">
                  <c:v>0.11805408271474027</c:v>
                </c:pt>
                <c:pt idx="152">
                  <c:v>0.12283492400141401</c:v>
                </c:pt>
                <c:pt idx="153">
                  <c:v>0.12780723459408516</c:v>
                </c:pt>
                <c:pt idx="154">
                  <c:v>0.13301667255803001</c:v>
                </c:pt>
                <c:pt idx="155">
                  <c:v>0.13858401084010849</c:v>
                </c:pt>
                <c:pt idx="156">
                  <c:v>0.14430894308943099</c:v>
                </c:pt>
                <c:pt idx="157">
                  <c:v>0.14691145281018037</c:v>
                </c:pt>
                <c:pt idx="158">
                  <c:v>0.15089990573818793</c:v>
                </c:pt>
                <c:pt idx="159">
                  <c:v>0.16258689760810663</c:v>
                </c:pt>
                <c:pt idx="160">
                  <c:v>0.17887651702603996</c:v>
                </c:pt>
                <c:pt idx="161">
                  <c:v>0.19555202073759881</c:v>
                </c:pt>
                <c:pt idx="162">
                  <c:v>0.22611641333804658</c:v>
                </c:pt>
                <c:pt idx="163">
                  <c:v>0.25641716743254406</c:v>
                </c:pt>
                <c:pt idx="164">
                  <c:v>0.26669023211971271</c:v>
                </c:pt>
                <c:pt idx="165">
                  <c:v>0.27541681395074841</c:v>
                </c:pt>
                <c:pt idx="166">
                  <c:v>0.30624484505714644</c:v>
                </c:pt>
                <c:pt idx="167">
                  <c:v>0.33082508542476752</c:v>
                </c:pt>
                <c:pt idx="168">
                  <c:v>0.35801814539884552</c:v>
                </c:pt>
                <c:pt idx="169">
                  <c:v>0.382240485448333</c:v>
                </c:pt>
                <c:pt idx="170">
                  <c:v>0.40577795451867588</c:v>
                </c:pt>
                <c:pt idx="171">
                  <c:v>0.41290061270177947</c:v>
                </c:pt>
                <c:pt idx="172">
                  <c:v>0.41892158595499029</c:v>
                </c:pt>
                <c:pt idx="173">
                  <c:v>0.43473105926711469</c:v>
                </c:pt>
                <c:pt idx="174">
                  <c:v>0.45006627783669173</c:v>
                </c:pt>
                <c:pt idx="175">
                  <c:v>0.46342199835041858</c:v>
                </c:pt>
                <c:pt idx="176">
                  <c:v>0.47586455755861939</c:v>
                </c:pt>
                <c:pt idx="177">
                  <c:v>0.48711558854719017</c:v>
                </c:pt>
                <c:pt idx="178">
                  <c:v>0.49116000942618154</c:v>
                </c:pt>
                <c:pt idx="179">
                  <c:v>0.49432367149758488</c:v>
                </c:pt>
                <c:pt idx="180">
                  <c:v>0.5017924472722991</c:v>
                </c:pt>
                <c:pt idx="181">
                  <c:v>0.50962796041003922</c:v>
                </c:pt>
                <c:pt idx="182">
                  <c:v>0.51692588665017125</c:v>
                </c:pt>
                <c:pt idx="183">
                  <c:v>0.52388505950276931</c:v>
                </c:pt>
                <c:pt idx="184">
                  <c:v>0.52949069164604723</c:v>
                </c:pt>
                <c:pt idx="185">
                  <c:v>0.53256303758689794</c:v>
                </c:pt>
                <c:pt idx="186">
                  <c:v>0.53474873335689921</c:v>
                </c:pt>
                <c:pt idx="187">
                  <c:v>0.53860021208907782</c:v>
                </c:pt>
                <c:pt idx="188">
                  <c:v>0.54288028749852757</c:v>
                </c:pt>
                <c:pt idx="189">
                  <c:v>0.54865235065394169</c:v>
                </c:pt>
                <c:pt idx="190">
                  <c:v>0.55397225167903896</c:v>
                </c:pt>
                <c:pt idx="191">
                  <c:v>0.55894898079415611</c:v>
                </c:pt>
                <c:pt idx="192">
                  <c:v>0.56095940850712889</c:v>
                </c:pt>
                <c:pt idx="193">
                  <c:v>0.56237039000824829</c:v>
                </c:pt>
                <c:pt idx="194">
                  <c:v>0.56628520089548762</c:v>
                </c:pt>
                <c:pt idx="195">
                  <c:v>0.57068752209261264</c:v>
                </c:pt>
                <c:pt idx="196">
                  <c:v>0.57545658065276339</c:v>
                </c:pt>
                <c:pt idx="197">
                  <c:v>0.58001649581713244</c:v>
                </c:pt>
                <c:pt idx="198">
                  <c:v>0.58411393896547703</c:v>
                </c:pt>
                <c:pt idx="199">
                  <c:v>0.58577530340520834</c:v>
                </c:pt>
                <c:pt idx="200">
                  <c:v>0.58688582537999334</c:v>
                </c:pt>
                <c:pt idx="201">
                  <c:v>0.5904294803817608</c:v>
                </c:pt>
                <c:pt idx="202">
                  <c:v>0.59435607399552293</c:v>
                </c:pt>
                <c:pt idx="203">
                  <c:v>0.5975801225403562</c:v>
                </c:pt>
                <c:pt idx="204">
                  <c:v>0.60109432072581637</c:v>
                </c:pt>
                <c:pt idx="205">
                  <c:v>0.60479998821727388</c:v>
                </c:pt>
                <c:pt idx="206">
                  <c:v>0.60726405090137903</c:v>
                </c:pt>
                <c:pt idx="207">
                  <c:v>0.60962943325085461</c:v>
                </c:pt>
                <c:pt idx="208">
                  <c:v>0.61350153175444844</c:v>
                </c:pt>
                <c:pt idx="209">
                  <c:v>0.61790532579238877</c:v>
                </c:pt>
                <c:pt idx="210">
                  <c:v>0.62222958642629944</c:v>
                </c:pt>
                <c:pt idx="211">
                  <c:v>0.62650671615411846</c:v>
                </c:pt>
                <c:pt idx="212">
                  <c:v>0.62996347354777937</c:v>
                </c:pt>
                <c:pt idx="213">
                  <c:v>0.6323524213503009</c:v>
                </c:pt>
                <c:pt idx="214">
                  <c:v>0.63762519146930641</c:v>
                </c:pt>
                <c:pt idx="215">
                  <c:v>0.64374484505714669</c:v>
                </c:pt>
                <c:pt idx="216">
                  <c:v>0.65012519146930647</c:v>
                </c:pt>
                <c:pt idx="217">
                  <c:v>0.65366884647107382</c:v>
                </c:pt>
                <c:pt idx="218">
                  <c:v>0.65731854601154749</c:v>
                </c:pt>
                <c:pt idx="219">
                  <c:v>0.66035554377282946</c:v>
                </c:pt>
                <c:pt idx="220">
                  <c:v>0.66243224932249367</c:v>
                </c:pt>
                <c:pt idx="221">
                  <c:v>0.66450306350889643</c:v>
                </c:pt>
                <c:pt idx="222">
                  <c:v>0.66751355013550184</c:v>
                </c:pt>
                <c:pt idx="223">
                  <c:v>0.67075527277011948</c:v>
                </c:pt>
                <c:pt idx="224">
                  <c:v>0.67382467302933946</c:v>
                </c:pt>
                <c:pt idx="225">
                  <c:v>0.67763343937787246</c:v>
                </c:pt>
                <c:pt idx="226">
                  <c:v>0.68106957700011828</c:v>
                </c:pt>
                <c:pt idx="227">
                  <c:v>0.68406533521857005</c:v>
                </c:pt>
                <c:pt idx="228">
                  <c:v>0.68699481560033038</c:v>
                </c:pt>
                <c:pt idx="229">
                  <c:v>0.69033080004713143</c:v>
                </c:pt>
                <c:pt idx="230">
                  <c:v>0.69371980676328548</c:v>
                </c:pt>
                <c:pt idx="231">
                  <c:v>0.69703517143867144</c:v>
                </c:pt>
                <c:pt idx="232">
                  <c:v>0.70026658418758148</c:v>
                </c:pt>
                <c:pt idx="233">
                  <c:v>0.70339637092023144</c:v>
                </c:pt>
                <c:pt idx="234">
                  <c:v>0.70631406857546886</c:v>
                </c:pt>
                <c:pt idx="235">
                  <c:v>0.709234711912337</c:v>
                </c:pt>
                <c:pt idx="236">
                  <c:v>0.71226434546954209</c:v>
                </c:pt>
                <c:pt idx="237">
                  <c:v>0.71535878402262332</c:v>
                </c:pt>
                <c:pt idx="238">
                  <c:v>0.71839872746553601</c:v>
                </c:pt>
                <c:pt idx="239">
                  <c:v>0.72145487215741777</c:v>
                </c:pt>
                <c:pt idx="240">
                  <c:v>0.72445357605750016</c:v>
                </c:pt>
                <c:pt idx="241">
                  <c:v>0.72738452928007591</c:v>
                </c:pt>
                <c:pt idx="242">
                  <c:v>0.73030075409449802</c:v>
                </c:pt>
                <c:pt idx="243">
                  <c:v>0.73327000117827312</c:v>
                </c:pt>
                <c:pt idx="244">
                  <c:v>0.736271650759986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227A-4123-86A8-89323E6F14AF}"/>
            </c:ext>
          </c:extLst>
        </c:ser>
        <c:ser>
          <c:idx val="10"/>
          <c:order val="10"/>
          <c:tx>
            <c:strRef>
              <c:f>List1!$L$1</c:f>
              <c:strCache>
                <c:ptCount val="1"/>
                <c:pt idx="0">
                  <c:v>14 65-69</c:v>
                </c:pt>
              </c:strCache>
            </c:strRef>
          </c:tx>
          <c:spPr>
            <a:ln w="2857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L$5:$L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3.9709269320030228E-5</c:v>
                </c:pt>
                <c:pt idx="19">
                  <c:v>2.1619491074238682E-4</c:v>
                </c:pt>
                <c:pt idx="20">
                  <c:v>4.5150909930552892E-4</c:v>
                </c:pt>
                <c:pt idx="21">
                  <c:v>6.5152615958419973E-4</c:v>
                </c:pt>
                <c:pt idx="22">
                  <c:v>7.6918325386577074E-4</c:v>
                </c:pt>
                <c:pt idx="23">
                  <c:v>8.294825146850759E-4</c:v>
                </c:pt>
                <c:pt idx="24">
                  <c:v>8.8536963446882221E-4</c:v>
                </c:pt>
                <c:pt idx="25">
                  <c:v>9.5008103632368622E-4</c:v>
                </c:pt>
                <c:pt idx="26">
                  <c:v>1.1898073659223872E-3</c:v>
                </c:pt>
                <c:pt idx="27">
                  <c:v>1.4545358280559221E-3</c:v>
                </c:pt>
                <c:pt idx="28">
                  <c:v>1.7339714269746535E-3</c:v>
                </c:pt>
                <c:pt idx="29">
                  <c:v>2.1031205602830825E-3</c:v>
                </c:pt>
                <c:pt idx="30">
                  <c:v>2.6252239161575542E-3</c:v>
                </c:pt>
                <c:pt idx="31">
                  <c:v>2.7590588609028412E-3</c:v>
                </c:pt>
                <c:pt idx="32">
                  <c:v>2.9076009424333247E-3</c:v>
                </c:pt>
                <c:pt idx="33">
                  <c:v>3.5120642643048962E-3</c:v>
                </c:pt>
                <c:pt idx="34">
                  <c:v>4.3047789370269807E-3</c:v>
                </c:pt>
                <c:pt idx="35">
                  <c:v>5.210738562995078E-3</c:v>
                </c:pt>
                <c:pt idx="36">
                  <c:v>6.2902424030284922E-3</c:v>
                </c:pt>
                <c:pt idx="37">
                  <c:v>7.2050263110677078E-3</c:v>
                </c:pt>
                <c:pt idx="38">
                  <c:v>7.3623926746693089E-3</c:v>
                </c:pt>
                <c:pt idx="39">
                  <c:v>7.484461909986439E-3</c:v>
                </c:pt>
                <c:pt idx="40">
                  <c:v>8.2977665742077992E-3</c:v>
                </c:pt>
                <c:pt idx="41">
                  <c:v>9.1301905162499142E-3</c:v>
                </c:pt>
                <c:pt idx="42">
                  <c:v>9.9714387403631467E-3</c:v>
                </c:pt>
                <c:pt idx="43">
                  <c:v>1.0940639054507588E-2</c:v>
                </c:pt>
                <c:pt idx="44">
                  <c:v>1.1728941586194114E-2</c:v>
                </c:pt>
                <c:pt idx="45">
                  <c:v>1.1864247244617921E-2</c:v>
                </c:pt>
                <c:pt idx="46">
                  <c:v>1.191131008233055E-2</c:v>
                </c:pt>
                <c:pt idx="47">
                  <c:v>1.2365760608993118E-2</c:v>
                </c:pt>
                <c:pt idx="48">
                  <c:v>1.2876098255439433E-2</c:v>
                </c:pt>
                <c:pt idx="49">
                  <c:v>1.3315841645316804E-2</c:v>
                </c:pt>
                <c:pt idx="50">
                  <c:v>1.3810001441299402E-2</c:v>
                </c:pt>
                <c:pt idx="51">
                  <c:v>1.4167384865179674E-2</c:v>
                </c:pt>
                <c:pt idx="52">
                  <c:v>1.418944557035747E-2</c:v>
                </c:pt>
                <c:pt idx="53">
                  <c:v>1.4205623420821186E-2</c:v>
                </c:pt>
                <c:pt idx="54">
                  <c:v>1.4446820464098406E-2</c:v>
                </c:pt>
                <c:pt idx="55">
                  <c:v>1.4820381738442395E-2</c:v>
                </c:pt>
                <c:pt idx="56">
                  <c:v>1.5092463768968526E-2</c:v>
                </c:pt>
                <c:pt idx="57">
                  <c:v>1.5323365816496111E-2</c:v>
                </c:pt>
                <c:pt idx="58">
                  <c:v>1.5533677872524418E-2</c:v>
                </c:pt>
                <c:pt idx="59">
                  <c:v>1.5551326436666655E-2</c:v>
                </c:pt>
                <c:pt idx="60">
                  <c:v>1.5560150718737772E-2</c:v>
                </c:pt>
                <c:pt idx="61">
                  <c:v>1.5698397804518618E-2</c:v>
                </c:pt>
                <c:pt idx="62">
                  <c:v>1.5873412732262455E-2</c:v>
                </c:pt>
                <c:pt idx="63">
                  <c:v>1.6073429792541127E-2</c:v>
                </c:pt>
                <c:pt idx="64">
                  <c:v>1.626462257074868E-2</c:v>
                </c:pt>
                <c:pt idx="65">
                  <c:v>1.6555823879095568E-2</c:v>
                </c:pt>
                <c:pt idx="66">
                  <c:v>1.6561706733809644E-2</c:v>
                </c:pt>
                <c:pt idx="67">
                  <c:v>1.657788458427336E-2</c:v>
                </c:pt>
                <c:pt idx="68">
                  <c:v>1.6755840939374239E-2</c:v>
                </c:pt>
                <c:pt idx="69">
                  <c:v>1.699703798265146E-2</c:v>
                </c:pt>
                <c:pt idx="70">
                  <c:v>1.7302946427783544E-2</c:v>
                </c:pt>
                <c:pt idx="71">
                  <c:v>1.7863288339299524E-2</c:v>
                </c:pt>
                <c:pt idx="72">
                  <c:v>1.8388333122531037E-2</c:v>
                </c:pt>
                <c:pt idx="73">
                  <c:v>1.8458927379099981E-2</c:v>
                </c:pt>
                <c:pt idx="74">
                  <c:v>1.8538345917740038E-2</c:v>
                </c:pt>
                <c:pt idx="75">
                  <c:v>1.897956002129593E-2</c:v>
                </c:pt>
                <c:pt idx="76">
                  <c:v>1.9466366248885932E-2</c:v>
                </c:pt>
                <c:pt idx="77">
                  <c:v>1.9984057463724843E-2</c:v>
                </c:pt>
                <c:pt idx="78">
                  <c:v>2.0513514387991913E-2</c:v>
                </c:pt>
                <c:pt idx="79">
                  <c:v>2.121945695368134E-2</c:v>
                </c:pt>
                <c:pt idx="80">
                  <c:v>2.1282697641857685E-2</c:v>
                </c:pt>
                <c:pt idx="81">
                  <c:v>2.1334172620605871E-2</c:v>
                </c:pt>
                <c:pt idx="82">
                  <c:v>2.2179832985754662E-2</c:v>
                </c:pt>
                <c:pt idx="83">
                  <c:v>2.305049548343829E-2</c:v>
                </c:pt>
                <c:pt idx="84">
                  <c:v>2.4256480699824393E-2</c:v>
                </c:pt>
                <c:pt idx="85">
                  <c:v>2.544628806574678E-2</c:v>
                </c:pt>
                <c:pt idx="86">
                  <c:v>2.6471375499674966E-2</c:v>
                </c:pt>
                <c:pt idx="87">
                  <c:v>2.6693453265131433E-2</c:v>
                </c:pt>
                <c:pt idx="88">
                  <c:v>2.6891999611731585E-2</c:v>
                </c:pt>
                <c:pt idx="89">
                  <c:v>2.8036214853619863E-2</c:v>
                </c:pt>
                <c:pt idx="90">
                  <c:v>2.9321618608646027E-2</c:v>
                </c:pt>
                <c:pt idx="91">
                  <c:v>3.0614375932064789E-2</c:v>
                </c:pt>
                <c:pt idx="92">
                  <c:v>3.2224807410043792E-2</c:v>
                </c:pt>
                <c:pt idx="93">
                  <c:v>3.2679257936706362E-2</c:v>
                </c:pt>
                <c:pt idx="94">
                  <c:v>3.3126354894976333E-2</c:v>
                </c:pt>
                <c:pt idx="95">
                  <c:v>3.3467560468392887E-2</c:v>
                </c:pt>
                <c:pt idx="96">
                  <c:v>3.3751408208347176E-2</c:v>
                </c:pt>
                <c:pt idx="97">
                  <c:v>3.5020634112909628E-2</c:v>
                </c:pt>
                <c:pt idx="98">
                  <c:v>3.5891296610593253E-2</c:v>
                </c:pt>
                <c:pt idx="99">
                  <c:v>3.6953151886484431E-2</c:v>
                </c:pt>
                <c:pt idx="100">
                  <c:v>3.825620420565283E-2</c:v>
                </c:pt>
                <c:pt idx="101">
                  <c:v>3.8645943330460536E-2</c:v>
                </c:pt>
                <c:pt idx="102">
                  <c:v>3.8929791070414825E-2</c:v>
                </c:pt>
                <c:pt idx="103">
                  <c:v>3.9822514273276245E-2</c:v>
                </c:pt>
                <c:pt idx="104">
                  <c:v>4.0804951010527363E-2</c:v>
                </c:pt>
                <c:pt idx="105">
                  <c:v>4.1891808418953375E-2</c:v>
                </c:pt>
                <c:pt idx="106">
                  <c:v>4.3011021528306818E-2</c:v>
                </c:pt>
                <c:pt idx="107">
                  <c:v>4.471410796803256E-2</c:v>
                </c:pt>
                <c:pt idx="108">
                  <c:v>4.5242094178621108E-2</c:v>
                </c:pt>
                <c:pt idx="109">
                  <c:v>4.5623009021357699E-2</c:v>
                </c:pt>
                <c:pt idx="110">
                  <c:v>4.6948122045703887E-2</c:v>
                </c:pt>
                <c:pt idx="111">
                  <c:v>4.8232055087051535E-2</c:v>
                </c:pt>
                <c:pt idx="112">
                  <c:v>4.9855722988137216E-2</c:v>
                </c:pt>
                <c:pt idx="113">
                  <c:v>5.1516158731185889E-2</c:v>
                </c:pt>
                <c:pt idx="114">
                  <c:v>5.2707436810786795E-2</c:v>
                </c:pt>
                <c:pt idx="115">
                  <c:v>5.3058937379952986E-2</c:v>
                </c:pt>
                <c:pt idx="116">
                  <c:v>5.3401613667048063E-2</c:v>
                </c:pt>
                <c:pt idx="117">
                  <c:v>5.4453173947189605E-2</c:v>
                </c:pt>
                <c:pt idx="118">
                  <c:v>5.5854764082818822E-2</c:v>
                </c:pt>
                <c:pt idx="119">
                  <c:v>5.7697568322003928E-2</c:v>
                </c:pt>
                <c:pt idx="120">
                  <c:v>5.9438893317371178E-2</c:v>
                </c:pt>
                <c:pt idx="121">
                  <c:v>6.0690470657791387E-2</c:v>
                </c:pt>
                <c:pt idx="122">
                  <c:v>6.0974318397745676E-2</c:v>
                </c:pt>
                <c:pt idx="123">
                  <c:v>6.1166981889631752E-2</c:v>
                </c:pt>
                <c:pt idx="124">
                  <c:v>6.1975874412817551E-2</c:v>
                </c:pt>
                <c:pt idx="125">
                  <c:v>6.3408349535695685E-2</c:v>
                </c:pt>
                <c:pt idx="126">
                  <c:v>6.5186442373025927E-2</c:v>
                </c:pt>
                <c:pt idx="127">
                  <c:v>6.7289562933309011E-2</c:v>
                </c:pt>
                <c:pt idx="128">
                  <c:v>6.9064714343282207E-2</c:v>
                </c:pt>
                <c:pt idx="129">
                  <c:v>6.9500045592124027E-2</c:v>
                </c:pt>
                <c:pt idx="130">
                  <c:v>6.9675060519867854E-2</c:v>
                </c:pt>
                <c:pt idx="131">
                  <c:v>7.0935462142359185E-2</c:v>
                </c:pt>
                <c:pt idx="132">
                  <c:v>7.2476770077447766E-2</c:v>
                </c:pt>
                <c:pt idx="133">
                  <c:v>7.3946013042288886E-2</c:v>
                </c:pt>
                <c:pt idx="134">
                  <c:v>7.5369663883095891E-2</c:v>
                </c:pt>
                <c:pt idx="135">
                  <c:v>7.6630065505587222E-2</c:v>
                </c:pt>
                <c:pt idx="136">
                  <c:v>7.6897735395077799E-2</c:v>
                </c:pt>
                <c:pt idx="137">
                  <c:v>7.7066867468107564E-2</c:v>
                </c:pt>
                <c:pt idx="138">
                  <c:v>7.8290501248635902E-2</c:v>
                </c:pt>
                <c:pt idx="139">
                  <c:v>8.0012706966182401E-2</c:v>
                </c:pt>
                <c:pt idx="140">
                  <c:v>8.2286430313173758E-2</c:v>
                </c:pt>
                <c:pt idx="141">
                  <c:v>8.6336775783816835E-2</c:v>
                </c:pt>
                <c:pt idx="142">
                  <c:v>9.0123863506004903E-2</c:v>
                </c:pt>
                <c:pt idx="143">
                  <c:v>9.1776945680660985E-2</c:v>
                </c:pt>
                <c:pt idx="144">
                  <c:v>9.3144709401684248E-2</c:v>
                </c:pt>
                <c:pt idx="145">
                  <c:v>9.8904024166767149E-2</c:v>
                </c:pt>
                <c:pt idx="146">
                  <c:v>0.10442949545696543</c:v>
                </c:pt>
                <c:pt idx="147">
                  <c:v>0.11054325221857156</c:v>
                </c:pt>
                <c:pt idx="148">
                  <c:v>0.12187068897052981</c:v>
                </c:pt>
                <c:pt idx="149">
                  <c:v>0.13201125978392272</c:v>
                </c:pt>
                <c:pt idx="150">
                  <c:v>0.13778969382682638</c:v>
                </c:pt>
                <c:pt idx="151">
                  <c:v>0.14145618302737584</c:v>
                </c:pt>
                <c:pt idx="152">
                  <c:v>0.16091519570786916</c:v>
                </c:pt>
                <c:pt idx="153">
                  <c:v>0.18089042888952289</c:v>
                </c:pt>
                <c:pt idx="154">
                  <c:v>0.2090045915681043</c:v>
                </c:pt>
                <c:pt idx="155">
                  <c:v>0.24219418715125698</c:v>
                </c:pt>
                <c:pt idx="156">
                  <c:v>0.26865967979621785</c:v>
                </c:pt>
                <c:pt idx="157">
                  <c:v>0.28014595362545625</c:v>
                </c:pt>
                <c:pt idx="158">
                  <c:v>0.28879816219618726</c:v>
                </c:pt>
                <c:pt idx="159">
                  <c:v>0.32076559471249011</c:v>
                </c:pt>
                <c:pt idx="160">
                  <c:v>0.34796350276935378</c:v>
                </c:pt>
                <c:pt idx="161">
                  <c:v>0.37473049171841122</c:v>
                </c:pt>
                <c:pt idx="162">
                  <c:v>0.40197693332666601</c:v>
                </c:pt>
                <c:pt idx="163">
                  <c:v>0.42346406016983795</c:v>
                </c:pt>
                <c:pt idx="164">
                  <c:v>0.4290865985628185</c:v>
                </c:pt>
                <c:pt idx="165">
                  <c:v>0.43604013283485937</c:v>
                </c:pt>
                <c:pt idx="166">
                  <c:v>0.45384018048598257</c:v>
                </c:pt>
                <c:pt idx="167">
                  <c:v>0.47039600436507811</c:v>
                </c:pt>
                <c:pt idx="168">
                  <c:v>0.48636060134540882</c:v>
                </c:pt>
                <c:pt idx="169">
                  <c:v>0.50216930267581639</c:v>
                </c:pt>
                <c:pt idx="170">
                  <c:v>0.51483067673419192</c:v>
                </c:pt>
                <c:pt idx="171">
                  <c:v>0.5198664003694432</c:v>
                </c:pt>
                <c:pt idx="172">
                  <c:v>0.52372114092084321</c:v>
                </c:pt>
                <c:pt idx="173">
                  <c:v>0.53468236996685004</c:v>
                </c:pt>
                <c:pt idx="174">
                  <c:v>0.54676869497692437</c:v>
                </c:pt>
                <c:pt idx="175">
                  <c:v>0.55811819243406047</c:v>
                </c:pt>
                <c:pt idx="176">
                  <c:v>0.5687911615990775</c:v>
                </c:pt>
                <c:pt idx="177">
                  <c:v>0.57653446911648332</c:v>
                </c:pt>
                <c:pt idx="178">
                  <c:v>0.58002447267561041</c:v>
                </c:pt>
                <c:pt idx="179">
                  <c:v>0.58275558797662141</c:v>
                </c:pt>
                <c:pt idx="180">
                  <c:v>0.59013121707439742</c:v>
                </c:pt>
                <c:pt idx="181">
                  <c:v>0.59791717528848043</c:v>
                </c:pt>
                <c:pt idx="182">
                  <c:v>0.6055619449894255</c:v>
                </c:pt>
                <c:pt idx="183">
                  <c:v>0.6126184292189627</c:v>
                </c:pt>
                <c:pt idx="184">
                  <c:v>0.61715116877616016</c:v>
                </c:pt>
                <c:pt idx="185">
                  <c:v>0.61951460565754124</c:v>
                </c:pt>
                <c:pt idx="186">
                  <c:v>0.62119857281944624</c:v>
                </c:pt>
                <c:pt idx="187">
                  <c:v>0.62467239852810963</c:v>
                </c:pt>
                <c:pt idx="188">
                  <c:v>0.62900659173870699</c:v>
                </c:pt>
                <c:pt idx="189">
                  <c:v>0.63511299493192053</c:v>
                </c:pt>
                <c:pt idx="190">
                  <c:v>0.64166355365604699</c:v>
                </c:pt>
                <c:pt idx="191">
                  <c:v>0.64735668630559651</c:v>
                </c:pt>
                <c:pt idx="192">
                  <c:v>0.64964070464833756</c:v>
                </c:pt>
                <c:pt idx="193">
                  <c:v>0.65091287198025705</c:v>
                </c:pt>
                <c:pt idx="194">
                  <c:v>0.65611037412014539</c:v>
                </c:pt>
                <c:pt idx="195">
                  <c:v>0.6619682267016892</c:v>
                </c:pt>
                <c:pt idx="196">
                  <c:v>0.66918060658114942</c:v>
                </c:pt>
                <c:pt idx="197">
                  <c:v>0.67593706522026864</c:v>
                </c:pt>
                <c:pt idx="198">
                  <c:v>0.68104191239841039</c:v>
                </c:pt>
                <c:pt idx="199">
                  <c:v>0.68243761967932548</c:v>
                </c:pt>
                <c:pt idx="200">
                  <c:v>0.68319062508272754</c:v>
                </c:pt>
                <c:pt idx="201">
                  <c:v>0.68837930294054483</c:v>
                </c:pt>
                <c:pt idx="202">
                  <c:v>0.69415185412873437</c:v>
                </c:pt>
                <c:pt idx="203">
                  <c:v>0.69958614117086448</c:v>
                </c:pt>
                <c:pt idx="204">
                  <c:v>0.70512631959784788</c:v>
                </c:pt>
                <c:pt idx="205">
                  <c:v>0.70968847342861585</c:v>
                </c:pt>
                <c:pt idx="206">
                  <c:v>0.71187101252753904</c:v>
                </c:pt>
                <c:pt idx="207">
                  <c:v>0.71376970388650784</c:v>
                </c:pt>
                <c:pt idx="208">
                  <c:v>0.7180421271226074</c:v>
                </c:pt>
                <c:pt idx="209">
                  <c:v>0.72273664518444203</c:v>
                </c:pt>
                <c:pt idx="210">
                  <c:v>0.72722673404496252</c:v>
                </c:pt>
                <c:pt idx="211">
                  <c:v>0.73150504013577611</c:v>
                </c:pt>
                <c:pt idx="212">
                  <c:v>0.73464501383941561</c:v>
                </c:pt>
                <c:pt idx="213">
                  <c:v>0.73654517591206292</c:v>
                </c:pt>
                <c:pt idx="214">
                  <c:v>0.73843063084792515</c:v>
                </c:pt>
                <c:pt idx="215">
                  <c:v>0.74135588035450073</c:v>
                </c:pt>
                <c:pt idx="216">
                  <c:v>0.74457233116942312</c:v>
                </c:pt>
                <c:pt idx="217">
                  <c:v>0.7482417617973296</c:v>
                </c:pt>
                <c:pt idx="218">
                  <c:v>0.75187736601063015</c:v>
                </c:pt>
                <c:pt idx="219">
                  <c:v>0.75495262831241472</c:v>
                </c:pt>
                <c:pt idx="220">
                  <c:v>0.75684543681666949</c:v>
                </c:pt>
                <c:pt idx="221">
                  <c:v>0.75874412817563841</c:v>
                </c:pt>
                <c:pt idx="222">
                  <c:v>0.76182233190477999</c:v>
                </c:pt>
                <c:pt idx="223">
                  <c:v>0.76507407984798692</c:v>
                </c:pt>
                <c:pt idx="224">
                  <c:v>0.76814493000873596</c:v>
                </c:pt>
                <c:pt idx="225">
                  <c:v>0.77171288139282457</c:v>
                </c:pt>
                <c:pt idx="226">
                  <c:v>0.77501757502845814</c:v>
                </c:pt>
                <c:pt idx="227">
                  <c:v>0.77774869032946914</c:v>
                </c:pt>
                <c:pt idx="228">
                  <c:v>0.78038862138241194</c:v>
                </c:pt>
                <c:pt idx="229">
                  <c:v>0.7835080050945521</c:v>
                </c:pt>
                <c:pt idx="230">
                  <c:v>0.78668621735383304</c:v>
                </c:pt>
                <c:pt idx="231">
                  <c:v>0.78971735824526201</c:v>
                </c:pt>
                <c:pt idx="232">
                  <c:v>0.79273820414094132</c:v>
                </c:pt>
                <c:pt idx="233">
                  <c:v>0.79559433010462643</c:v>
                </c:pt>
                <c:pt idx="234">
                  <c:v>0.79822543687549807</c:v>
                </c:pt>
                <c:pt idx="235">
                  <c:v>0.80085801436004822</c:v>
                </c:pt>
                <c:pt idx="236">
                  <c:v>0.80359795394313027</c:v>
                </c:pt>
                <c:pt idx="237">
                  <c:v>0.80376708601616009</c:v>
                </c:pt>
                <c:pt idx="238">
                  <c:v>0.80393915951654682</c:v>
                </c:pt>
                <c:pt idx="239">
                  <c:v>0.80413623514946853</c:v>
                </c:pt>
                <c:pt idx="240">
                  <c:v>0.80419653441028782</c:v>
                </c:pt>
                <c:pt idx="241">
                  <c:v>0.80421565368810854</c:v>
                </c:pt>
                <c:pt idx="242">
                  <c:v>0.80421565368810854</c:v>
                </c:pt>
                <c:pt idx="243">
                  <c:v>0.80425977509846414</c:v>
                </c:pt>
                <c:pt idx="244">
                  <c:v>0.804368607910674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227A-4123-86A8-89323E6F14AF}"/>
            </c:ext>
          </c:extLst>
        </c:ser>
        <c:ser>
          <c:idx val="11"/>
          <c:order val="11"/>
          <c:tx>
            <c:strRef>
              <c:f>List1!$M$1</c:f>
              <c:strCache>
                <c:ptCount val="1"/>
                <c:pt idx="0">
                  <c:v>15 70-74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M$5:$M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.2038642216205855E-5</c:v>
                </c:pt>
                <c:pt idx="19">
                  <c:v>1.152790515924614E-4</c:v>
                </c:pt>
                <c:pt idx="20">
                  <c:v>2.712448272763798E-4</c:v>
                </c:pt>
                <c:pt idx="21">
                  <c:v>4.1534364176695651E-4</c:v>
                </c:pt>
                <c:pt idx="22">
                  <c:v>5.1536517182512156E-4</c:v>
                </c:pt>
                <c:pt idx="23">
                  <c:v>5.5605189591657856E-4</c:v>
                </c:pt>
                <c:pt idx="24">
                  <c:v>5.8487165881469393E-4</c:v>
                </c:pt>
                <c:pt idx="25">
                  <c:v>6.1708198205376395E-4</c:v>
                </c:pt>
                <c:pt idx="26">
                  <c:v>7.17103512111929E-4</c:v>
                </c:pt>
                <c:pt idx="27">
                  <c:v>8.4764008523868675E-4</c:v>
                </c:pt>
                <c:pt idx="28">
                  <c:v>1.0002153005816503E-3</c:v>
                </c:pt>
                <c:pt idx="29">
                  <c:v>1.2816318088808944E-3</c:v>
                </c:pt>
                <c:pt idx="30">
                  <c:v>1.6630698472383035E-3</c:v>
                </c:pt>
                <c:pt idx="31">
                  <c:v>1.7766536186602875E-3</c:v>
                </c:pt>
                <c:pt idx="32">
                  <c:v>1.8936279504232264E-3</c:v>
                </c:pt>
                <c:pt idx="33">
                  <c:v>2.2886282301444543E-3</c:v>
                </c:pt>
                <c:pt idx="34">
                  <c:v>2.8650234881067616E-3</c:v>
                </c:pt>
                <c:pt idx="35">
                  <c:v>3.7719983793121563E-3</c:v>
                </c:pt>
                <c:pt idx="36">
                  <c:v>4.7128788739270984E-3</c:v>
                </c:pt>
                <c:pt idx="37">
                  <c:v>5.4723643903009621E-3</c:v>
                </c:pt>
                <c:pt idx="38">
                  <c:v>5.6062915237686745E-3</c:v>
                </c:pt>
                <c:pt idx="39">
                  <c:v>5.7181800150201811E-3</c:v>
                </c:pt>
                <c:pt idx="40">
                  <c:v>6.4013779237225626E-3</c:v>
                </c:pt>
                <c:pt idx="41">
                  <c:v>7.1574728797554714E-3</c:v>
                </c:pt>
                <c:pt idx="42">
                  <c:v>8.0034176848236809E-3</c:v>
                </c:pt>
                <c:pt idx="43">
                  <c:v>8.9663368216548293E-3</c:v>
                </c:pt>
                <c:pt idx="44">
                  <c:v>9.7258223380286921E-3</c:v>
                </c:pt>
                <c:pt idx="45">
                  <c:v>9.9190842774631131E-3</c:v>
                </c:pt>
                <c:pt idx="46">
                  <c:v>9.9580757213840933E-3</c:v>
                </c:pt>
                <c:pt idx="47">
                  <c:v>1.0409020246731075E-2</c:v>
                </c:pt>
                <c:pt idx="48">
                  <c:v>1.0893870375487603E-2</c:v>
                </c:pt>
                <c:pt idx="49">
                  <c:v>1.1387196905096519E-2</c:v>
                </c:pt>
                <c:pt idx="50">
                  <c:v>1.1843227270954932E-2</c:v>
                </c:pt>
                <c:pt idx="51">
                  <c:v>1.2219579468800909E-2</c:v>
                </c:pt>
                <c:pt idx="52">
                  <c:v>1.2233141710164729E-2</c:v>
                </c:pt>
                <c:pt idx="53">
                  <c:v>1.2248399231699025E-2</c:v>
                </c:pt>
                <c:pt idx="54">
                  <c:v>1.2512862938293495E-2</c:v>
                </c:pt>
                <c:pt idx="55">
                  <c:v>1.2826489769831809E-2</c:v>
                </c:pt>
                <c:pt idx="56">
                  <c:v>1.3121468519494871E-2</c:v>
                </c:pt>
                <c:pt idx="57">
                  <c:v>1.3375760545066478E-2</c:v>
                </c:pt>
                <c:pt idx="58">
                  <c:v>1.3538507441432306E-2</c:v>
                </c:pt>
                <c:pt idx="59">
                  <c:v>1.355546024313708E-2</c:v>
                </c:pt>
                <c:pt idx="60">
                  <c:v>1.3577498885353286E-2</c:v>
                </c:pt>
                <c:pt idx="61">
                  <c:v>1.3696168497286701E-2</c:v>
                </c:pt>
                <c:pt idx="62">
                  <c:v>1.3886039876380167E-2</c:v>
                </c:pt>
                <c:pt idx="63">
                  <c:v>1.4101340458030794E-2</c:v>
                </c:pt>
                <c:pt idx="64">
                  <c:v>1.4338679681897625E-2</c:v>
                </c:pt>
                <c:pt idx="65">
                  <c:v>1.4682821556504532E-2</c:v>
                </c:pt>
                <c:pt idx="66">
                  <c:v>1.4696383797868352E-2</c:v>
                </c:pt>
                <c:pt idx="67">
                  <c:v>1.4715031879743603E-2</c:v>
                </c:pt>
                <c:pt idx="68">
                  <c:v>1.4967628625144731E-2</c:v>
                </c:pt>
                <c:pt idx="69">
                  <c:v>1.5216834810204905E-2</c:v>
                </c:pt>
                <c:pt idx="70">
                  <c:v>1.55168994003794E-2</c:v>
                </c:pt>
                <c:pt idx="71">
                  <c:v>1.6010225929988315E-2</c:v>
                </c:pt>
                <c:pt idx="72">
                  <c:v>1.6554410864711554E-2</c:v>
                </c:pt>
                <c:pt idx="73">
                  <c:v>1.6620526791360172E-2</c:v>
                </c:pt>
                <c:pt idx="74">
                  <c:v>1.6690033278349743E-2</c:v>
                </c:pt>
                <c:pt idx="75">
                  <c:v>1.7156235325231022E-2</c:v>
                </c:pt>
                <c:pt idx="76">
                  <c:v>1.7666514656544709E-2</c:v>
                </c:pt>
                <c:pt idx="77">
                  <c:v>1.825477687570036E-2</c:v>
                </c:pt>
                <c:pt idx="78">
                  <c:v>1.8846429655196964E-2</c:v>
                </c:pt>
                <c:pt idx="79">
                  <c:v>1.973136590418615E-2</c:v>
                </c:pt>
                <c:pt idx="80">
                  <c:v>1.9795786550664291E-2</c:v>
                </c:pt>
                <c:pt idx="81">
                  <c:v>1.9855121356630999E-2</c:v>
                </c:pt>
                <c:pt idx="82">
                  <c:v>2.1018083553578478E-2</c:v>
                </c:pt>
                <c:pt idx="83">
                  <c:v>2.2508234823428088E-2</c:v>
                </c:pt>
                <c:pt idx="84">
                  <c:v>2.4462892859988501E-2</c:v>
                </c:pt>
                <c:pt idx="85">
                  <c:v>2.6549782749846148E-2</c:v>
                </c:pt>
                <c:pt idx="86">
                  <c:v>2.9029977639254547E-2</c:v>
                </c:pt>
                <c:pt idx="87">
                  <c:v>3.0247188801657301E-2</c:v>
                </c:pt>
                <c:pt idx="88">
                  <c:v>3.1216889059170357E-2</c:v>
                </c:pt>
                <c:pt idx="89">
                  <c:v>3.5719553191958263E-2</c:v>
                </c:pt>
                <c:pt idx="90">
                  <c:v>4.0905415233448546E-2</c:v>
                </c:pt>
                <c:pt idx="91">
                  <c:v>4.7510226777628395E-2</c:v>
                </c:pt>
                <c:pt idx="92">
                  <c:v>5.5817099612967526E-2</c:v>
                </c:pt>
                <c:pt idx="93">
                  <c:v>6.0390965512915479E-2</c:v>
                </c:pt>
                <c:pt idx="94">
                  <c:v>6.3927319948531278E-2</c:v>
                </c:pt>
                <c:pt idx="95">
                  <c:v>6.7280584125735524E-2</c:v>
                </c:pt>
                <c:pt idx="96">
                  <c:v>7.0126959531967042E-2</c:v>
                </c:pt>
                <c:pt idx="97">
                  <c:v>7.9681558572777519E-2</c:v>
                </c:pt>
                <c:pt idx="98">
                  <c:v>8.7179782766798941E-2</c:v>
                </c:pt>
                <c:pt idx="99">
                  <c:v>0.10232711109001427</c:v>
                </c:pt>
                <c:pt idx="100">
                  <c:v>0.11576898756172936</c:v>
                </c:pt>
                <c:pt idx="101">
                  <c:v>0.12409450847894375</c:v>
                </c:pt>
                <c:pt idx="102">
                  <c:v>0.12857343868934498</c:v>
                </c:pt>
                <c:pt idx="103">
                  <c:v>0.14338510153880579</c:v>
                </c:pt>
                <c:pt idx="104">
                  <c:v>0.15794755820320641</c:v>
                </c:pt>
                <c:pt idx="105">
                  <c:v>0.17571409438980928</c:v>
                </c:pt>
                <c:pt idx="106">
                  <c:v>0.19069189469597689</c:v>
                </c:pt>
                <c:pt idx="107">
                  <c:v>0.201548468907714</c:v>
                </c:pt>
                <c:pt idx="108">
                  <c:v>0.20576802125203217</c:v>
                </c:pt>
                <c:pt idx="109">
                  <c:v>0.20841265831797687</c:v>
                </c:pt>
                <c:pt idx="110">
                  <c:v>0.21612618309364892</c:v>
                </c:pt>
                <c:pt idx="111">
                  <c:v>0.22450086713580716</c:v>
                </c:pt>
                <c:pt idx="112">
                  <c:v>0.2310768589170889</c:v>
                </c:pt>
                <c:pt idx="113">
                  <c:v>0.23930744414475655</c:v>
                </c:pt>
                <c:pt idx="114">
                  <c:v>0.24432038760885813</c:v>
                </c:pt>
                <c:pt idx="115">
                  <c:v>0.24723966006242018</c:v>
                </c:pt>
                <c:pt idx="116">
                  <c:v>0.24934858859449402</c:v>
                </c:pt>
                <c:pt idx="117">
                  <c:v>0.25256453507788962</c:v>
                </c:pt>
                <c:pt idx="118">
                  <c:v>0.25880316610524634</c:v>
                </c:pt>
                <c:pt idx="119">
                  <c:v>0.2653893295675509</c:v>
                </c:pt>
                <c:pt idx="120">
                  <c:v>0.27313336938629157</c:v>
                </c:pt>
                <c:pt idx="121">
                  <c:v>0.27704099017924194</c:v>
                </c:pt>
                <c:pt idx="122">
                  <c:v>0.27929062696546542</c:v>
                </c:pt>
                <c:pt idx="123">
                  <c:v>0.28049766644684526</c:v>
                </c:pt>
                <c:pt idx="124">
                  <c:v>0.2827235693106821</c:v>
                </c:pt>
                <c:pt idx="125">
                  <c:v>0.2865362544140857</c:v>
                </c:pt>
                <c:pt idx="126">
                  <c:v>0.29064900410766381</c:v>
                </c:pt>
                <c:pt idx="127">
                  <c:v>0.29520083136539554</c:v>
                </c:pt>
                <c:pt idx="128">
                  <c:v>0.29878804420612565</c:v>
                </c:pt>
                <c:pt idx="129">
                  <c:v>0.29946276571397568</c:v>
                </c:pt>
                <c:pt idx="130">
                  <c:v>0.2997204482998882</c:v>
                </c:pt>
                <c:pt idx="131">
                  <c:v>0.30197178036628219</c:v>
                </c:pt>
                <c:pt idx="132">
                  <c:v>0.30518942212984823</c:v>
                </c:pt>
                <c:pt idx="133">
                  <c:v>0.3083019565228447</c:v>
                </c:pt>
                <c:pt idx="134">
                  <c:v>0.31139414755379541</c:v>
                </c:pt>
                <c:pt idx="135">
                  <c:v>0.31343865543939115</c:v>
                </c:pt>
                <c:pt idx="136">
                  <c:v>0.31382856987860092</c:v>
                </c:pt>
                <c:pt idx="137">
                  <c:v>0.31409133830502489</c:v>
                </c:pt>
                <c:pt idx="138">
                  <c:v>0.31605786330277869</c:v>
                </c:pt>
                <c:pt idx="139">
                  <c:v>0.32089280234898016</c:v>
                </c:pt>
                <c:pt idx="140">
                  <c:v>0.32632617529536012</c:v>
                </c:pt>
                <c:pt idx="141">
                  <c:v>0.34003590603401063</c:v>
                </c:pt>
                <c:pt idx="142">
                  <c:v>0.35402027216027848</c:v>
                </c:pt>
                <c:pt idx="143">
                  <c:v>0.36033180023496575</c:v>
                </c:pt>
                <c:pt idx="144">
                  <c:v>0.36654330677959485</c:v>
                </c:pt>
                <c:pt idx="145">
                  <c:v>0.38610683994690376</c:v>
                </c:pt>
                <c:pt idx="146">
                  <c:v>0.40353601537958161</c:v>
                </c:pt>
                <c:pt idx="147">
                  <c:v>0.42410824024832455</c:v>
                </c:pt>
                <c:pt idx="148">
                  <c:v>0.44717591752801017</c:v>
                </c:pt>
                <c:pt idx="149">
                  <c:v>0.46657161795844182</c:v>
                </c:pt>
                <c:pt idx="150">
                  <c:v>0.47360194482541146</c:v>
                </c:pt>
                <c:pt idx="151">
                  <c:v>0.4805390312830049</c:v>
                </c:pt>
                <c:pt idx="152">
                  <c:v>0.49759694035834823</c:v>
                </c:pt>
                <c:pt idx="153">
                  <c:v>0.5135546126030518</c:v>
                </c:pt>
                <c:pt idx="154">
                  <c:v>0.52883247749939388</c:v>
                </c:pt>
                <c:pt idx="155">
                  <c:v>0.54530890547626343</c:v>
                </c:pt>
                <c:pt idx="156">
                  <c:v>0.55902202677525492</c:v>
                </c:pt>
                <c:pt idx="157">
                  <c:v>0.56327378944281215</c:v>
                </c:pt>
                <c:pt idx="158">
                  <c:v>0.56614728933177128</c:v>
                </c:pt>
                <c:pt idx="159">
                  <c:v>0.57776504434005271</c:v>
                </c:pt>
                <c:pt idx="160">
                  <c:v>0.58981340051163544</c:v>
                </c:pt>
                <c:pt idx="161">
                  <c:v>0.60021394435751407</c:v>
                </c:pt>
                <c:pt idx="162">
                  <c:v>0.61286921083012769</c:v>
                </c:pt>
                <c:pt idx="163">
                  <c:v>0.62473617202346932</c:v>
                </c:pt>
                <c:pt idx="164">
                  <c:v>0.62786735449834108</c:v>
                </c:pt>
                <c:pt idx="165">
                  <c:v>0.62994407270717578</c:v>
                </c:pt>
                <c:pt idx="166">
                  <c:v>0.6395173198298616</c:v>
                </c:pt>
                <c:pt idx="167">
                  <c:v>0.65007043889108318</c:v>
                </c:pt>
                <c:pt idx="168">
                  <c:v>0.66062355795230487</c:v>
                </c:pt>
                <c:pt idx="169">
                  <c:v>0.67197854453416228</c:v>
                </c:pt>
                <c:pt idx="170">
                  <c:v>0.68140430228201654</c:v>
                </c:pt>
                <c:pt idx="171">
                  <c:v>0.68498812456240565</c:v>
                </c:pt>
                <c:pt idx="172">
                  <c:v>0.68686988555163553</c:v>
                </c:pt>
                <c:pt idx="173">
                  <c:v>0.69498349644754032</c:v>
                </c:pt>
                <c:pt idx="174">
                  <c:v>0.7038633739805007</c:v>
                </c:pt>
                <c:pt idx="175">
                  <c:v>0.7126703544661307</c:v>
                </c:pt>
                <c:pt idx="176">
                  <c:v>0.72131797861573577</c:v>
                </c:pt>
                <c:pt idx="177">
                  <c:v>0.72760238220769546</c:v>
                </c:pt>
                <c:pt idx="178">
                  <c:v>0.72958755528732444</c:v>
                </c:pt>
                <c:pt idx="179">
                  <c:v>0.73094547470387683</c:v>
                </c:pt>
                <c:pt idx="180">
                  <c:v>0.73586517775860216</c:v>
                </c:pt>
                <c:pt idx="181">
                  <c:v>0.74203938813948067</c:v>
                </c:pt>
                <c:pt idx="182">
                  <c:v>0.74796778289564014</c:v>
                </c:pt>
                <c:pt idx="183">
                  <c:v>0.75339437472133819</c:v>
                </c:pt>
                <c:pt idx="184">
                  <c:v>0.75600849674421433</c:v>
                </c:pt>
                <c:pt idx="185">
                  <c:v>0.75735454919957335</c:v>
                </c:pt>
                <c:pt idx="186">
                  <c:v>0.75816150256072057</c:v>
                </c:pt>
                <c:pt idx="187">
                  <c:v>0.76013650395932664</c:v>
                </c:pt>
                <c:pt idx="188">
                  <c:v>0.76385594865335404</c:v>
                </c:pt>
                <c:pt idx="189">
                  <c:v>0.77100833569259808</c:v>
                </c:pt>
                <c:pt idx="190">
                  <c:v>0.78020014477692645</c:v>
                </c:pt>
                <c:pt idx="191">
                  <c:v>0.78824085862550064</c:v>
                </c:pt>
                <c:pt idx="192">
                  <c:v>0.79058712638144124</c:v>
                </c:pt>
                <c:pt idx="193">
                  <c:v>0.79128049597116656</c:v>
                </c:pt>
                <c:pt idx="194">
                  <c:v>0.79781410574818634</c:v>
                </c:pt>
                <c:pt idx="195">
                  <c:v>0.80515466888635334</c:v>
                </c:pt>
                <c:pt idx="196">
                  <c:v>0.81215956655076582</c:v>
                </c:pt>
                <c:pt idx="197">
                  <c:v>0.81859654535806847</c:v>
                </c:pt>
                <c:pt idx="198">
                  <c:v>0.8229568059565362</c:v>
                </c:pt>
                <c:pt idx="199">
                  <c:v>0.82403839470530083</c:v>
                </c:pt>
                <c:pt idx="200">
                  <c:v>0.8246046182822403</c:v>
                </c:pt>
                <c:pt idx="201">
                  <c:v>0.82828168097200572</c:v>
                </c:pt>
                <c:pt idx="202">
                  <c:v>0.83278773566513453</c:v>
                </c:pt>
                <c:pt idx="203">
                  <c:v>0.83692930512161079</c:v>
                </c:pt>
                <c:pt idx="204">
                  <c:v>0.84013168936364246</c:v>
                </c:pt>
                <c:pt idx="205">
                  <c:v>0.84229486686117161</c:v>
                </c:pt>
                <c:pt idx="206">
                  <c:v>0.84255424472725471</c:v>
                </c:pt>
                <c:pt idx="207">
                  <c:v>0.84260510313236903</c:v>
                </c:pt>
                <c:pt idx="208">
                  <c:v>0.84450720748364461</c:v>
                </c:pt>
                <c:pt idx="209">
                  <c:v>0.84657714457179745</c:v>
                </c:pt>
                <c:pt idx="210">
                  <c:v>0.84878439935375904</c:v>
                </c:pt>
                <c:pt idx="211">
                  <c:v>0.85053901433020307</c:v>
                </c:pt>
                <c:pt idx="212">
                  <c:v>0.85158839275572862</c:v>
                </c:pt>
                <c:pt idx="213">
                  <c:v>0.85167146148408202</c:v>
                </c:pt>
                <c:pt idx="214">
                  <c:v>0.85169689068663912</c:v>
                </c:pt>
                <c:pt idx="215">
                  <c:v>0.85250384404778634</c:v>
                </c:pt>
                <c:pt idx="216">
                  <c:v>0.85368545432660914</c:v>
                </c:pt>
                <c:pt idx="217">
                  <c:v>0.85515695751458343</c:v>
                </c:pt>
                <c:pt idx="218">
                  <c:v>0.85665897574562644</c:v>
                </c:pt>
                <c:pt idx="219">
                  <c:v>0.85779820402018725</c:v>
                </c:pt>
                <c:pt idx="220">
                  <c:v>0.85783889074427866</c:v>
                </c:pt>
                <c:pt idx="221">
                  <c:v>0.85791178779160926</c:v>
                </c:pt>
                <c:pt idx="222">
                  <c:v>0.85899168126020331</c:v>
                </c:pt>
                <c:pt idx="223">
                  <c:v>0.86013260481493459</c:v>
                </c:pt>
                <c:pt idx="224">
                  <c:v>0.86106839946903813</c:v>
                </c:pt>
                <c:pt idx="225">
                  <c:v>0.86191943011461769</c:v>
                </c:pt>
                <c:pt idx="226">
                  <c:v>0.86240428024337423</c:v>
                </c:pt>
                <c:pt idx="227">
                  <c:v>0.86248734897172763</c:v>
                </c:pt>
                <c:pt idx="228">
                  <c:v>0.86249413009240961</c:v>
                </c:pt>
                <c:pt idx="229">
                  <c:v>0.86278402300156121</c:v>
                </c:pt>
                <c:pt idx="230">
                  <c:v>0.86318580440196435</c:v>
                </c:pt>
                <c:pt idx="231">
                  <c:v>0.86348586899213886</c:v>
                </c:pt>
                <c:pt idx="232">
                  <c:v>0.86380797222452954</c:v>
                </c:pt>
                <c:pt idx="233">
                  <c:v>0.86400462472430484</c:v>
                </c:pt>
                <c:pt idx="234">
                  <c:v>0.86400632000447541</c:v>
                </c:pt>
                <c:pt idx="235">
                  <c:v>0.86401649168549821</c:v>
                </c:pt>
                <c:pt idx="236">
                  <c:v>0.86412668489657929</c:v>
                </c:pt>
                <c:pt idx="237">
                  <c:v>0.86425891674987654</c:v>
                </c:pt>
                <c:pt idx="238">
                  <c:v>0.86439284388334425</c:v>
                </c:pt>
                <c:pt idx="239">
                  <c:v>0.86451151349527766</c:v>
                </c:pt>
                <c:pt idx="240">
                  <c:v>0.86459119166329002</c:v>
                </c:pt>
                <c:pt idx="241">
                  <c:v>0.86462679254687014</c:v>
                </c:pt>
                <c:pt idx="242">
                  <c:v>0.86462679254687014</c:v>
                </c:pt>
                <c:pt idx="243">
                  <c:v>0.86468273679249585</c:v>
                </c:pt>
                <c:pt idx="244">
                  <c:v>0.864764110240678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227A-4123-86A8-89323E6F14AF}"/>
            </c:ext>
          </c:extLst>
        </c:ser>
        <c:ser>
          <c:idx val="12"/>
          <c:order val="12"/>
          <c:tx>
            <c:strRef>
              <c:f>List1!$N$1</c:f>
              <c:strCache>
                <c:ptCount val="1"/>
                <c:pt idx="0">
                  <c:v>16 75-79</c:v>
                </c:pt>
              </c:strCache>
            </c:strRef>
          </c:tx>
          <c:spPr>
            <a:ln w="2857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N$5:$N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.3024394691256719E-5</c:v>
                </c:pt>
                <c:pt idx="19">
                  <c:v>8.075124708579166E-5</c:v>
                </c:pt>
                <c:pt idx="20">
                  <c:v>2.1099519399835886E-4</c:v>
                </c:pt>
                <c:pt idx="21">
                  <c:v>3.33424504096172E-4</c:v>
                </c:pt>
                <c:pt idx="22">
                  <c:v>4.1678063012021502E-4</c:v>
                </c:pt>
                <c:pt idx="23">
                  <c:v>5.131611508355148E-4</c:v>
                </c:pt>
                <c:pt idx="24">
                  <c:v>5.4441969809453084E-4</c:v>
                </c:pt>
                <c:pt idx="25">
                  <c:v>5.6525872960054167E-4</c:v>
                </c:pt>
                <c:pt idx="26">
                  <c:v>6.1214655048906583E-4</c:v>
                </c:pt>
                <c:pt idx="27">
                  <c:v>6.8508316076010343E-4</c:v>
                </c:pt>
                <c:pt idx="28">
                  <c:v>7.5020513421638702E-4</c:v>
                </c:pt>
                <c:pt idx="29">
                  <c:v>9.9506375441201335E-4</c:v>
                </c:pt>
                <c:pt idx="30">
                  <c:v>1.3936102319644691E-3</c:v>
                </c:pt>
                <c:pt idx="31">
                  <c:v>1.4978053894945228E-3</c:v>
                </c:pt>
                <c:pt idx="32">
                  <c:v>1.6254444574688386E-3</c:v>
                </c:pt>
                <c:pt idx="33">
                  <c:v>2.044829966527305E-3</c:v>
                </c:pt>
                <c:pt idx="34">
                  <c:v>2.8106643743732E-3</c:v>
                </c:pt>
                <c:pt idx="35">
                  <c:v>3.784889097279203E-3</c:v>
                </c:pt>
                <c:pt idx="36">
                  <c:v>5.0534651402076077E-3</c:v>
                </c:pt>
                <c:pt idx="37">
                  <c:v>5.9781971632868348E-3</c:v>
                </c:pt>
                <c:pt idx="38">
                  <c:v>6.1110459891376527E-3</c:v>
                </c:pt>
                <c:pt idx="39">
                  <c:v>6.2673387254327338E-3</c:v>
                </c:pt>
                <c:pt idx="40">
                  <c:v>6.9784706755753505E-3</c:v>
                </c:pt>
                <c:pt idx="41">
                  <c:v>7.8485002409513002E-3</c:v>
                </c:pt>
                <c:pt idx="42">
                  <c:v>9.1691738626447309E-3</c:v>
                </c:pt>
                <c:pt idx="43">
                  <c:v>1.0807642714804826E-2</c:v>
                </c:pt>
                <c:pt idx="44">
                  <c:v>1.1985047994894433E-2</c:v>
                </c:pt>
                <c:pt idx="45">
                  <c:v>1.2380989593508638E-2</c:v>
                </c:pt>
                <c:pt idx="46">
                  <c:v>1.2448716445903172E-2</c:v>
                </c:pt>
                <c:pt idx="47">
                  <c:v>1.3183292306490051E-2</c:v>
                </c:pt>
                <c:pt idx="48">
                  <c:v>1.4113234087445782E-2</c:v>
                </c:pt>
                <c:pt idx="49">
                  <c:v>1.4959819742377468E-2</c:v>
                </c:pt>
                <c:pt idx="50">
                  <c:v>1.5707419997655604E-2</c:v>
                </c:pt>
                <c:pt idx="51">
                  <c:v>1.6460230010810241E-2</c:v>
                </c:pt>
                <c:pt idx="52">
                  <c:v>1.6481069042316252E-2</c:v>
                </c:pt>
                <c:pt idx="53">
                  <c:v>1.649669831594576E-2</c:v>
                </c:pt>
                <c:pt idx="54">
                  <c:v>1.6947342372263245E-2</c:v>
                </c:pt>
                <c:pt idx="55">
                  <c:v>1.7447479128407502E-2</c:v>
                </c:pt>
                <c:pt idx="56">
                  <c:v>1.7885098790033728E-2</c:v>
                </c:pt>
                <c:pt idx="57">
                  <c:v>1.827322575183318E-2</c:v>
                </c:pt>
                <c:pt idx="58">
                  <c:v>1.853110876672006E-2</c:v>
                </c:pt>
                <c:pt idx="59">
                  <c:v>1.8559762435040827E-2</c:v>
                </c:pt>
                <c:pt idx="60">
                  <c:v>1.8583206345485086E-2</c:v>
                </c:pt>
                <c:pt idx="61">
                  <c:v>1.8833274723557218E-2</c:v>
                </c:pt>
                <c:pt idx="62">
                  <c:v>1.9135440680394373E-2</c:v>
                </c:pt>
                <c:pt idx="63">
                  <c:v>1.9474074942367046E-2</c:v>
                </c:pt>
                <c:pt idx="64">
                  <c:v>1.9885645814610761E-2</c:v>
                </c:pt>
                <c:pt idx="65">
                  <c:v>2.0453509423149552E-2</c:v>
                </c:pt>
                <c:pt idx="66">
                  <c:v>2.0469138696779059E-2</c:v>
                </c:pt>
                <c:pt idx="67">
                  <c:v>2.0518631396605837E-2</c:v>
                </c:pt>
                <c:pt idx="68">
                  <c:v>2.0953646179293812E-2</c:v>
                </c:pt>
                <c:pt idx="69">
                  <c:v>2.145638781437632E-2</c:v>
                </c:pt>
                <c:pt idx="70">
                  <c:v>2.1985178238841344E-2</c:v>
                </c:pt>
                <c:pt idx="71">
                  <c:v>2.2761432162440243E-2</c:v>
                </c:pt>
                <c:pt idx="72">
                  <c:v>2.3678349548704718E-2</c:v>
                </c:pt>
                <c:pt idx="73">
                  <c:v>2.3792964221987775E-2</c:v>
                </c:pt>
                <c:pt idx="74">
                  <c:v>2.3873715469073568E-2</c:v>
                </c:pt>
                <c:pt idx="75">
                  <c:v>2.4579637661339682E-2</c:v>
                </c:pt>
                <c:pt idx="76">
                  <c:v>2.5418408679456616E-2</c:v>
                </c:pt>
                <c:pt idx="77">
                  <c:v>2.6327511428906332E-2</c:v>
                </c:pt>
                <c:pt idx="78">
                  <c:v>2.7148048294455506E-2</c:v>
                </c:pt>
                <c:pt idx="79">
                  <c:v>2.8541658526419975E-2</c:v>
                </c:pt>
                <c:pt idx="80">
                  <c:v>2.8632829289258772E-2</c:v>
                </c:pt>
                <c:pt idx="81">
                  <c:v>2.8734419567850576E-2</c:v>
                </c:pt>
                <c:pt idx="82">
                  <c:v>3.0190546894333075E-2</c:v>
                </c:pt>
                <c:pt idx="83">
                  <c:v>3.3209601583766388E-2</c:v>
                </c:pt>
                <c:pt idx="84">
                  <c:v>3.8859584000833551E-2</c:v>
                </c:pt>
                <c:pt idx="85">
                  <c:v>4.5311869130882129E-2</c:v>
                </c:pt>
                <c:pt idx="86">
                  <c:v>5.3199442555907195E-2</c:v>
                </c:pt>
                <c:pt idx="87">
                  <c:v>5.6153375271884222E-2</c:v>
                </c:pt>
                <c:pt idx="88">
                  <c:v>5.8737415178629557E-2</c:v>
                </c:pt>
                <c:pt idx="89">
                  <c:v>7.1272092629495021E-2</c:v>
                </c:pt>
                <c:pt idx="90">
                  <c:v>8.5945375688664838E-2</c:v>
                </c:pt>
                <c:pt idx="91">
                  <c:v>0.1077794709490876</c:v>
                </c:pt>
                <c:pt idx="92">
                  <c:v>0.13458628010263218</c:v>
                </c:pt>
                <c:pt idx="93">
                  <c:v>0.14651662563982334</c:v>
                </c:pt>
                <c:pt idx="94">
                  <c:v>0.15616509722710634</c:v>
                </c:pt>
                <c:pt idx="95">
                  <c:v>0.16261477747821665</c:v>
                </c:pt>
                <c:pt idx="96">
                  <c:v>0.16839760872113463</c:v>
                </c:pt>
                <c:pt idx="97">
                  <c:v>0.19145339220359728</c:v>
                </c:pt>
                <c:pt idx="98">
                  <c:v>0.21017986689068618</c:v>
                </c:pt>
                <c:pt idx="99">
                  <c:v>0.23516326078745484</c:v>
                </c:pt>
                <c:pt idx="100">
                  <c:v>0.25703382435301314</c:v>
                </c:pt>
                <c:pt idx="101">
                  <c:v>0.27048541919014307</c:v>
                </c:pt>
                <c:pt idx="102">
                  <c:v>0.28089972518527195</c:v>
                </c:pt>
                <c:pt idx="103">
                  <c:v>0.29917555581604338</c:v>
                </c:pt>
                <c:pt idx="104">
                  <c:v>0.31588845908386398</c:v>
                </c:pt>
                <c:pt idx="105">
                  <c:v>0.33269513799346168</c:v>
                </c:pt>
                <c:pt idx="106">
                  <c:v>0.34954349496607134</c:v>
                </c:pt>
                <c:pt idx="107">
                  <c:v>0.36439130491410399</c:v>
                </c:pt>
                <c:pt idx="108">
                  <c:v>0.37048672162961216</c:v>
                </c:pt>
                <c:pt idx="109">
                  <c:v>0.37419346435874379</c:v>
                </c:pt>
                <c:pt idx="110">
                  <c:v>0.38422224827101148</c:v>
                </c:pt>
                <c:pt idx="111">
                  <c:v>0.39425884682009393</c:v>
                </c:pt>
                <c:pt idx="112">
                  <c:v>0.40267000091170752</c:v>
                </c:pt>
                <c:pt idx="113">
                  <c:v>0.41190169186887027</c:v>
                </c:pt>
                <c:pt idx="114">
                  <c:v>0.41778090363250353</c:v>
                </c:pt>
                <c:pt idx="115">
                  <c:v>0.42143033902499366</c:v>
                </c:pt>
                <c:pt idx="116">
                  <c:v>0.42314434936636308</c:v>
                </c:pt>
                <c:pt idx="117">
                  <c:v>0.42673647742221166</c:v>
                </c:pt>
                <c:pt idx="118">
                  <c:v>0.432232771981922</c:v>
                </c:pt>
                <c:pt idx="119">
                  <c:v>0.43837247163938042</c:v>
                </c:pt>
                <c:pt idx="120">
                  <c:v>0.44472056161189893</c:v>
                </c:pt>
                <c:pt idx="121">
                  <c:v>0.44840907018846288</c:v>
                </c:pt>
                <c:pt idx="122">
                  <c:v>0.44967764623139128</c:v>
                </c:pt>
                <c:pt idx="123">
                  <c:v>0.45058153922296446</c:v>
                </c:pt>
                <c:pt idx="124">
                  <c:v>0.45278526680472514</c:v>
                </c:pt>
                <c:pt idx="125">
                  <c:v>0.45648940465491855</c:v>
                </c:pt>
                <c:pt idx="126">
                  <c:v>0.46053217676708463</c:v>
                </c:pt>
                <c:pt idx="127">
                  <c:v>0.46477031479961955</c:v>
                </c:pt>
                <c:pt idx="128">
                  <c:v>0.4681175842352725</c:v>
                </c:pt>
                <c:pt idx="129">
                  <c:v>0.46868284296487306</c:v>
                </c:pt>
                <c:pt idx="130">
                  <c:v>0.46903450162153698</c:v>
                </c:pt>
                <c:pt idx="131">
                  <c:v>0.4716680342281091</c:v>
                </c:pt>
                <c:pt idx="132">
                  <c:v>0.47533830865210525</c:v>
                </c:pt>
                <c:pt idx="133">
                  <c:v>0.47899034892353365</c:v>
                </c:pt>
                <c:pt idx="134">
                  <c:v>0.48245483791140792</c:v>
                </c:pt>
                <c:pt idx="135">
                  <c:v>0.48462730694590955</c:v>
                </c:pt>
                <c:pt idx="136">
                  <c:v>0.48521340470701607</c:v>
                </c:pt>
                <c:pt idx="137">
                  <c:v>0.48549994139022373</c:v>
                </c:pt>
                <c:pt idx="138">
                  <c:v>0.48755519087250404</c:v>
                </c:pt>
                <c:pt idx="139">
                  <c:v>0.49409083212857668</c:v>
                </c:pt>
                <c:pt idx="140">
                  <c:v>0.49981375115591486</c:v>
                </c:pt>
                <c:pt idx="141">
                  <c:v>0.51128563799997384</c:v>
                </c:pt>
                <c:pt idx="142">
                  <c:v>0.5206267338725431</c:v>
                </c:pt>
                <c:pt idx="143">
                  <c:v>0.52405996431315838</c:v>
                </c:pt>
                <c:pt idx="144">
                  <c:v>0.52667005300928627</c:v>
                </c:pt>
                <c:pt idx="145">
                  <c:v>0.53651910027481453</c:v>
                </c:pt>
                <c:pt idx="146">
                  <c:v>0.54754294794149427</c:v>
                </c:pt>
                <c:pt idx="147">
                  <c:v>0.55903567381705921</c:v>
                </c:pt>
                <c:pt idx="148">
                  <c:v>0.57083577540733776</c:v>
                </c:pt>
                <c:pt idx="149">
                  <c:v>0.58242488180361796</c:v>
                </c:pt>
                <c:pt idx="150">
                  <c:v>0.58495942901053655</c:v>
                </c:pt>
                <c:pt idx="151">
                  <c:v>0.58788470805819282</c:v>
                </c:pt>
                <c:pt idx="152">
                  <c:v>0.59722580393076219</c:v>
                </c:pt>
                <c:pt idx="153">
                  <c:v>0.60897120306333741</c:v>
                </c:pt>
                <c:pt idx="154">
                  <c:v>0.62103700230531766</c:v>
                </c:pt>
                <c:pt idx="155">
                  <c:v>0.63429062634314048</c:v>
                </c:pt>
                <c:pt idx="156">
                  <c:v>0.64596048398650652</c:v>
                </c:pt>
                <c:pt idx="157">
                  <c:v>0.64927128511702403</c:v>
                </c:pt>
                <c:pt idx="158">
                  <c:v>0.6511311686789355</c:v>
                </c:pt>
                <c:pt idx="159">
                  <c:v>0.66101147449172282</c:v>
                </c:pt>
                <c:pt idx="160">
                  <c:v>0.67164719519660299</c:v>
                </c:pt>
                <c:pt idx="161">
                  <c:v>0.68170984253506794</c:v>
                </c:pt>
                <c:pt idx="162">
                  <c:v>0.69514841297750662</c:v>
                </c:pt>
                <c:pt idx="163">
                  <c:v>0.70866773466703115</c:v>
                </c:pt>
                <c:pt idx="164">
                  <c:v>0.71220255538623822</c:v>
                </c:pt>
                <c:pt idx="165">
                  <c:v>0.71395303403274313</c:v>
                </c:pt>
                <c:pt idx="166">
                  <c:v>0.7231300225322026</c:v>
                </c:pt>
                <c:pt idx="167">
                  <c:v>0.73291655270321288</c:v>
                </c:pt>
                <c:pt idx="168">
                  <c:v>0.74391174670157179</c:v>
                </c:pt>
                <c:pt idx="169">
                  <c:v>0.75447713567511931</c:v>
                </c:pt>
                <c:pt idx="170">
                  <c:v>0.76368538272183772</c:v>
                </c:pt>
                <c:pt idx="171">
                  <c:v>0.76700920824704644</c:v>
                </c:pt>
                <c:pt idx="172">
                  <c:v>0.76837676968962842</c:v>
                </c:pt>
                <c:pt idx="173">
                  <c:v>0.77578244051107703</c:v>
                </c:pt>
                <c:pt idx="174">
                  <c:v>0.78409460920303709</c:v>
                </c:pt>
                <c:pt idx="175">
                  <c:v>0.79229997785852879</c:v>
                </c:pt>
                <c:pt idx="176">
                  <c:v>0.80048190260357621</c:v>
                </c:pt>
                <c:pt idx="177">
                  <c:v>0.80644186561429532</c:v>
                </c:pt>
                <c:pt idx="178">
                  <c:v>0.8081011734979614</c:v>
                </c:pt>
                <c:pt idx="179">
                  <c:v>0.80903372015785546</c:v>
                </c:pt>
                <c:pt idx="180">
                  <c:v>0.81349066802120351</c:v>
                </c:pt>
                <c:pt idx="181">
                  <c:v>0.81910418213313507</c:v>
                </c:pt>
                <c:pt idx="182">
                  <c:v>0.82480886700790557</c:v>
                </c:pt>
                <c:pt idx="183">
                  <c:v>0.83004727855272897</c:v>
                </c:pt>
                <c:pt idx="184">
                  <c:v>0.8321546256137744</c:v>
                </c:pt>
                <c:pt idx="185">
                  <c:v>0.83318094791544539</c:v>
                </c:pt>
                <c:pt idx="186">
                  <c:v>0.83380351398168739</c:v>
                </c:pt>
                <c:pt idx="187">
                  <c:v>0.83533257791844095</c:v>
                </c:pt>
                <c:pt idx="188">
                  <c:v>0.83870850102241468</c:v>
                </c:pt>
                <c:pt idx="189">
                  <c:v>0.84576251318719942</c:v>
                </c:pt>
                <c:pt idx="190">
                  <c:v>0.85481967725549934</c:v>
                </c:pt>
                <c:pt idx="191">
                  <c:v>0.86296513369541128</c:v>
                </c:pt>
                <c:pt idx="192">
                  <c:v>0.86483804165201394</c:v>
                </c:pt>
                <c:pt idx="193">
                  <c:v>0.86534599304497295</c:v>
                </c:pt>
                <c:pt idx="194">
                  <c:v>0.87131637557144503</c:v>
                </c:pt>
                <c:pt idx="195">
                  <c:v>0.87739616301332368</c:v>
                </c:pt>
                <c:pt idx="196">
                  <c:v>0.88355149194441163</c:v>
                </c:pt>
                <c:pt idx="197">
                  <c:v>0.88919626460360224</c:v>
                </c:pt>
                <c:pt idx="198">
                  <c:v>0.89283267560140112</c:v>
                </c:pt>
                <c:pt idx="199">
                  <c:v>0.89370791492465362</c:v>
                </c:pt>
                <c:pt idx="200">
                  <c:v>0.89414292970734155</c:v>
                </c:pt>
                <c:pt idx="201">
                  <c:v>0.8974198674116618</c:v>
                </c:pt>
                <c:pt idx="202">
                  <c:v>0.9012620638455825</c:v>
                </c:pt>
                <c:pt idx="203">
                  <c:v>0.90504434806392342</c:v>
                </c:pt>
                <c:pt idx="204">
                  <c:v>0.90757368551296547</c:v>
                </c:pt>
                <c:pt idx="205">
                  <c:v>0.90929811537008787</c:v>
                </c:pt>
                <c:pt idx="206">
                  <c:v>0.90948827153258027</c:v>
                </c:pt>
                <c:pt idx="207">
                  <c:v>0.90952734471665397</c:v>
                </c:pt>
                <c:pt idx="208">
                  <c:v>0.91110069159535778</c:v>
                </c:pt>
                <c:pt idx="209">
                  <c:v>0.91282772633141851</c:v>
                </c:pt>
                <c:pt idx="210">
                  <c:v>0.91466156110394736</c:v>
                </c:pt>
                <c:pt idx="211">
                  <c:v>0.91620885919326867</c:v>
                </c:pt>
                <c:pt idx="212">
                  <c:v>0.91701376678518842</c:v>
                </c:pt>
                <c:pt idx="213">
                  <c:v>0.9170372106956326</c:v>
                </c:pt>
                <c:pt idx="214">
                  <c:v>0.91709191315333594</c:v>
                </c:pt>
                <c:pt idx="215">
                  <c:v>0.91780564998241676</c:v>
                </c:pt>
                <c:pt idx="216">
                  <c:v>0.91879810885789059</c:v>
                </c:pt>
                <c:pt idx="217">
                  <c:v>0.92017348493728723</c:v>
                </c:pt>
                <c:pt idx="218">
                  <c:v>0.92160616835332554</c:v>
                </c:pt>
                <c:pt idx="219">
                  <c:v>0.92254131989215771</c:v>
                </c:pt>
                <c:pt idx="220">
                  <c:v>0.92256215892366378</c:v>
                </c:pt>
                <c:pt idx="221">
                  <c:v>0.922616861381367</c:v>
                </c:pt>
                <c:pt idx="222">
                  <c:v>0.92359890074108775</c:v>
                </c:pt>
                <c:pt idx="223">
                  <c:v>0.9247085791687828</c:v>
                </c:pt>
                <c:pt idx="224">
                  <c:v>0.92550827700282601</c:v>
                </c:pt>
                <c:pt idx="225">
                  <c:v>0.92619856992146266</c:v>
                </c:pt>
                <c:pt idx="226">
                  <c:v>0.92663097982521236</c:v>
                </c:pt>
                <c:pt idx="227">
                  <c:v>0.92669089204079214</c:v>
                </c:pt>
                <c:pt idx="228">
                  <c:v>0.92670131155654512</c:v>
                </c:pt>
                <c:pt idx="229">
                  <c:v>0.92695919457143205</c:v>
                </c:pt>
                <c:pt idx="230">
                  <c:v>0.92727959468083687</c:v>
                </c:pt>
                <c:pt idx="231">
                  <c:v>0.92761562406387132</c:v>
                </c:pt>
                <c:pt idx="232">
                  <c:v>0.9279047656260172</c:v>
                </c:pt>
                <c:pt idx="233">
                  <c:v>0.92808450227275663</c:v>
                </c:pt>
                <c:pt idx="234">
                  <c:v>0.92808450227275663</c:v>
                </c:pt>
                <c:pt idx="235">
                  <c:v>0.92809492178850961</c:v>
                </c:pt>
                <c:pt idx="236">
                  <c:v>0.92818088279347188</c:v>
                </c:pt>
                <c:pt idx="237">
                  <c:v>0.92831112674038441</c:v>
                </c:pt>
                <c:pt idx="238">
                  <c:v>0.92844137068729704</c:v>
                </c:pt>
                <c:pt idx="239">
                  <c:v>0.92858724390783909</c:v>
                </c:pt>
                <c:pt idx="240">
                  <c:v>0.92868622930749267</c:v>
                </c:pt>
                <c:pt idx="241">
                  <c:v>0.92870706833899863</c:v>
                </c:pt>
                <c:pt idx="242">
                  <c:v>0.92870706833899863</c:v>
                </c:pt>
                <c:pt idx="243">
                  <c:v>0.92874353664413423</c:v>
                </c:pt>
                <c:pt idx="244">
                  <c:v>0.928819078133343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227A-4123-86A8-89323E6F14AF}"/>
            </c:ext>
          </c:extLst>
        </c:ser>
        <c:ser>
          <c:idx val="13"/>
          <c:order val="13"/>
          <c:tx>
            <c:strRef>
              <c:f>List1!$O$1</c:f>
              <c:strCache>
                <c:ptCount val="1"/>
                <c:pt idx="0">
                  <c:v>17 80-84</c:v>
                </c:pt>
              </c:strCache>
            </c:strRef>
          </c:tx>
          <c:spPr>
            <a:ln w="2857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O$5:$O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.0036305243314951E-4</c:v>
                </c:pt>
                <c:pt idx="20">
                  <c:v>3.7527054388047205E-4</c:v>
                </c:pt>
                <c:pt idx="21">
                  <c:v>5.6290581582070813E-4</c:v>
                </c:pt>
                <c:pt idx="22">
                  <c:v>6.4581442435244032E-4</c:v>
                </c:pt>
                <c:pt idx="23">
                  <c:v>7.505410877609441E-4</c:v>
                </c:pt>
                <c:pt idx="24">
                  <c:v>7.7672275361307004E-4</c:v>
                </c:pt>
                <c:pt idx="25">
                  <c:v>7.7672275361307004E-4</c:v>
                </c:pt>
                <c:pt idx="26">
                  <c:v>8.1599525239125907E-4</c:v>
                </c:pt>
                <c:pt idx="27">
                  <c:v>8.5090414019409362E-4</c:v>
                </c:pt>
                <c:pt idx="28">
                  <c:v>8.8581302799692829E-4</c:v>
                </c:pt>
                <c:pt idx="29">
                  <c:v>1.2872652377295263E-3</c:v>
                </c:pt>
                <c:pt idx="30">
                  <c:v>1.8676254974516516E-3</c:v>
                </c:pt>
                <c:pt idx="31">
                  <c:v>2.0116246596383444E-3</c:v>
                </c:pt>
                <c:pt idx="32">
                  <c:v>2.1599874328003914E-3</c:v>
                </c:pt>
                <c:pt idx="33">
                  <c:v>2.7970746352021232E-3</c:v>
                </c:pt>
                <c:pt idx="34">
                  <c:v>4.1017943168330665E-3</c:v>
                </c:pt>
                <c:pt idx="35">
                  <c:v>5.7468756545416477E-3</c:v>
                </c:pt>
                <c:pt idx="36">
                  <c:v>8.2210430775675504E-3</c:v>
                </c:pt>
                <c:pt idx="37">
                  <c:v>1.0276303846959439E-2</c:v>
                </c:pt>
                <c:pt idx="38">
                  <c:v>1.275919849193605E-2</c:v>
                </c:pt>
                <c:pt idx="39">
                  <c:v>1.5975179780772189E-2</c:v>
                </c:pt>
                <c:pt idx="40">
                  <c:v>2.3903860922990999E-2</c:v>
                </c:pt>
                <c:pt idx="41">
                  <c:v>3.4263073378482167E-2</c:v>
                </c:pt>
                <c:pt idx="42">
                  <c:v>4.7052817147245699E-2</c:v>
                </c:pt>
                <c:pt idx="43">
                  <c:v>6.524471130349789E-2</c:v>
                </c:pt>
                <c:pt idx="44">
                  <c:v>8.3628604342665669E-2</c:v>
                </c:pt>
                <c:pt idx="45">
                  <c:v>8.8280213642393371E-2</c:v>
                </c:pt>
                <c:pt idx="46">
                  <c:v>9.1243105494658958E-2</c:v>
                </c:pt>
                <c:pt idx="47">
                  <c:v>0.1031339454024995</c:v>
                </c:pt>
                <c:pt idx="48">
                  <c:v>0.11371570201773375</c:v>
                </c:pt>
                <c:pt idx="49">
                  <c:v>0.12344219088179854</c:v>
                </c:pt>
                <c:pt idx="50">
                  <c:v>0.13240504782517631</c:v>
                </c:pt>
                <c:pt idx="51">
                  <c:v>0.14209662780143828</c:v>
                </c:pt>
                <c:pt idx="52">
                  <c:v>0.14437443273057324</c:v>
                </c:pt>
                <c:pt idx="53">
                  <c:v>0.14638605739021157</c:v>
                </c:pt>
                <c:pt idx="54">
                  <c:v>0.15354674300076804</c:v>
                </c:pt>
                <c:pt idx="55">
                  <c:v>0.16077724638693014</c:v>
                </c:pt>
                <c:pt idx="56">
                  <c:v>0.16769793339384212</c:v>
                </c:pt>
                <c:pt idx="57">
                  <c:v>0.17456189345807446</c:v>
                </c:pt>
                <c:pt idx="58">
                  <c:v>0.18104185575647563</c:v>
                </c:pt>
                <c:pt idx="59">
                  <c:v>0.1821458493332403</c:v>
                </c:pt>
                <c:pt idx="60">
                  <c:v>0.18308402569294147</c:v>
                </c:pt>
                <c:pt idx="61">
                  <c:v>0.18800617887314114</c:v>
                </c:pt>
                <c:pt idx="62">
                  <c:v>0.19237851707044618</c:v>
                </c:pt>
                <c:pt idx="63">
                  <c:v>0.19744903302380792</c:v>
                </c:pt>
                <c:pt idx="64">
                  <c:v>0.20311736368079319</c:v>
                </c:pt>
                <c:pt idx="65">
                  <c:v>0.20948823570481051</c:v>
                </c:pt>
                <c:pt idx="66">
                  <c:v>0.21086713677302246</c:v>
                </c:pt>
                <c:pt idx="67">
                  <c:v>0.21224167423025908</c:v>
                </c:pt>
                <c:pt idx="68">
                  <c:v>0.21835509320673049</c:v>
                </c:pt>
                <c:pt idx="69">
                  <c:v>0.22658486350624873</c:v>
                </c:pt>
                <c:pt idx="70">
                  <c:v>0.23440881798505905</c:v>
                </c:pt>
                <c:pt idx="71">
                  <c:v>0.24402621657474</c:v>
                </c:pt>
                <c:pt idx="72">
                  <c:v>0.25282325630105429</c:v>
                </c:pt>
                <c:pt idx="73">
                  <c:v>0.25488288068142156</c:v>
                </c:pt>
                <c:pt idx="74">
                  <c:v>0.25608723731061933</c:v>
                </c:pt>
                <c:pt idx="75">
                  <c:v>0.26674753892340997</c:v>
                </c:pt>
                <c:pt idx="76">
                  <c:v>0.28167545207009714</c:v>
                </c:pt>
                <c:pt idx="77">
                  <c:v>0.2958266424631712</c:v>
                </c:pt>
                <c:pt idx="78">
                  <c:v>0.31495671297912459</c:v>
                </c:pt>
                <c:pt idx="79">
                  <c:v>0.33440532709627879</c:v>
                </c:pt>
                <c:pt idx="80">
                  <c:v>0.33818421420093564</c:v>
                </c:pt>
                <c:pt idx="81">
                  <c:v>0.34105983383369415</c:v>
                </c:pt>
                <c:pt idx="82">
                  <c:v>0.35744955665712497</c:v>
                </c:pt>
                <c:pt idx="83">
                  <c:v>0.37397455142079183</c:v>
                </c:pt>
                <c:pt idx="84">
                  <c:v>0.39111481533198361</c:v>
                </c:pt>
                <c:pt idx="85">
                  <c:v>0.41464776932206948</c:v>
                </c:pt>
                <c:pt idx="86">
                  <c:v>0.43137349019060262</c:v>
                </c:pt>
                <c:pt idx="87">
                  <c:v>0.43490365146966431</c:v>
                </c:pt>
                <c:pt idx="88">
                  <c:v>0.43811963275850041</c:v>
                </c:pt>
                <c:pt idx="89">
                  <c:v>0.45283809257837054</c:v>
                </c:pt>
                <c:pt idx="90">
                  <c:v>0.4649994763666831</c:v>
                </c:pt>
                <c:pt idx="91">
                  <c:v>0.47938193814145091</c:v>
                </c:pt>
                <c:pt idx="92">
                  <c:v>0.49441021434057125</c:v>
                </c:pt>
                <c:pt idx="93">
                  <c:v>0.49859491726593602</c:v>
                </c:pt>
                <c:pt idx="94">
                  <c:v>0.50260943936326197</c:v>
                </c:pt>
                <c:pt idx="95">
                  <c:v>0.50655850729595764</c:v>
                </c:pt>
                <c:pt idx="96">
                  <c:v>0.50890176638972295</c:v>
                </c:pt>
                <c:pt idx="97">
                  <c:v>0.51744135306849137</c:v>
                </c:pt>
                <c:pt idx="98">
                  <c:v>0.52388204286811435</c:v>
                </c:pt>
                <c:pt idx="99">
                  <c:v>0.53307180758221051</c:v>
                </c:pt>
                <c:pt idx="100">
                  <c:v>0.54042885568665799</c:v>
                </c:pt>
                <c:pt idx="101">
                  <c:v>0.54352265586818416</c:v>
                </c:pt>
                <c:pt idx="102">
                  <c:v>0.5454862808070936</c:v>
                </c:pt>
                <c:pt idx="103">
                  <c:v>0.5498586190043987</c:v>
                </c:pt>
                <c:pt idx="104">
                  <c:v>0.55454950080290455</c:v>
                </c:pt>
                <c:pt idx="105">
                  <c:v>0.55977710675137904</c:v>
                </c:pt>
                <c:pt idx="106">
                  <c:v>0.56566361795713205</c:v>
                </c:pt>
                <c:pt idx="107">
                  <c:v>0.57061195280318389</c:v>
                </c:pt>
                <c:pt idx="108">
                  <c:v>0.57197339942749437</c:v>
                </c:pt>
                <c:pt idx="109">
                  <c:v>0.57276321301403355</c:v>
                </c:pt>
                <c:pt idx="110">
                  <c:v>0.57640682817845434</c:v>
                </c:pt>
                <c:pt idx="111">
                  <c:v>0.57990208056971315</c:v>
                </c:pt>
                <c:pt idx="112">
                  <c:v>0.58292606297563376</c:v>
                </c:pt>
                <c:pt idx="113">
                  <c:v>0.58604604482301204</c:v>
                </c:pt>
                <c:pt idx="114">
                  <c:v>0.58797039726314337</c:v>
                </c:pt>
                <c:pt idx="115">
                  <c:v>0.58886057390211566</c:v>
                </c:pt>
                <c:pt idx="116">
                  <c:v>0.5892751169447743</c:v>
                </c:pt>
                <c:pt idx="117">
                  <c:v>0.59101619772394065</c:v>
                </c:pt>
                <c:pt idx="118">
                  <c:v>0.59289255044334299</c:v>
                </c:pt>
                <c:pt idx="119">
                  <c:v>0.59546708091880207</c:v>
                </c:pt>
                <c:pt idx="120">
                  <c:v>0.59837324582838802</c:v>
                </c:pt>
                <c:pt idx="121">
                  <c:v>0.59990923689171283</c:v>
                </c:pt>
                <c:pt idx="122">
                  <c:v>0.60028887104656858</c:v>
                </c:pt>
                <c:pt idx="123">
                  <c:v>0.60058996020386801</c:v>
                </c:pt>
                <c:pt idx="124">
                  <c:v>0.6015543182294214</c:v>
                </c:pt>
                <c:pt idx="125">
                  <c:v>0.60357030650003507</c:v>
                </c:pt>
                <c:pt idx="126">
                  <c:v>0.60587429309502217</c:v>
                </c:pt>
                <c:pt idx="127">
                  <c:v>0.60833973329609736</c:v>
                </c:pt>
                <c:pt idx="128">
                  <c:v>0.61060444739230624</c:v>
                </c:pt>
                <c:pt idx="129">
                  <c:v>0.61084880960692611</c:v>
                </c:pt>
                <c:pt idx="130">
                  <c:v>0.61143789708859886</c:v>
                </c:pt>
                <c:pt idx="131">
                  <c:v>0.6143047894994067</c:v>
                </c:pt>
                <c:pt idx="132">
                  <c:v>0.6181578579906446</c:v>
                </c:pt>
                <c:pt idx="133">
                  <c:v>0.62223783425260082</c:v>
                </c:pt>
                <c:pt idx="134">
                  <c:v>0.62630908329260648</c:v>
                </c:pt>
                <c:pt idx="135">
                  <c:v>0.62925888431194599</c:v>
                </c:pt>
                <c:pt idx="136">
                  <c:v>0.63060724010333047</c:v>
                </c:pt>
                <c:pt idx="137">
                  <c:v>0.63167196118131697</c:v>
                </c:pt>
                <c:pt idx="138">
                  <c:v>0.63460867136773036</c:v>
                </c:pt>
                <c:pt idx="139">
                  <c:v>0.6394959156601272</c:v>
                </c:pt>
                <c:pt idx="140">
                  <c:v>0.64598024156950373</c:v>
                </c:pt>
                <c:pt idx="141">
                  <c:v>0.65342019828248288</c:v>
                </c:pt>
                <c:pt idx="142">
                  <c:v>0.65884416672484836</c:v>
                </c:pt>
                <c:pt idx="143">
                  <c:v>0.66020561334915884</c:v>
                </c:pt>
                <c:pt idx="144">
                  <c:v>0.6611045172100819</c:v>
                </c:pt>
                <c:pt idx="145">
                  <c:v>0.66787247783285641</c:v>
                </c:pt>
                <c:pt idx="146">
                  <c:v>0.67583606786287809</c:v>
                </c:pt>
                <c:pt idx="147">
                  <c:v>0.68343311457096989</c:v>
                </c:pt>
                <c:pt idx="148">
                  <c:v>0.69095597989248081</c:v>
                </c:pt>
                <c:pt idx="149">
                  <c:v>0.69721339803113891</c:v>
                </c:pt>
                <c:pt idx="150">
                  <c:v>0.69824321022132252</c:v>
                </c:pt>
                <c:pt idx="151">
                  <c:v>0.69922502269077724</c:v>
                </c:pt>
                <c:pt idx="152">
                  <c:v>0.70419517559170586</c:v>
                </c:pt>
                <c:pt idx="153">
                  <c:v>0.71121186204007558</c:v>
                </c:pt>
                <c:pt idx="154">
                  <c:v>0.71936308734203747</c:v>
                </c:pt>
                <c:pt idx="155">
                  <c:v>0.72730485931718236</c:v>
                </c:pt>
                <c:pt idx="156">
                  <c:v>0.73357536828876646</c:v>
                </c:pt>
                <c:pt idx="157">
                  <c:v>0.73490190602527428</c:v>
                </c:pt>
                <c:pt idx="158">
                  <c:v>0.73555208406060202</c:v>
                </c:pt>
                <c:pt idx="159">
                  <c:v>0.74089314389443572</c:v>
                </c:pt>
                <c:pt idx="160">
                  <c:v>0.74703710814773461</c:v>
                </c:pt>
                <c:pt idx="161">
                  <c:v>0.75255707603155786</c:v>
                </c:pt>
                <c:pt idx="162">
                  <c:v>0.76119702576275938</c:v>
                </c:pt>
                <c:pt idx="163">
                  <c:v>0.7678777141660269</c:v>
                </c:pt>
                <c:pt idx="164">
                  <c:v>0.76930461495496771</c:v>
                </c:pt>
                <c:pt idx="165">
                  <c:v>0.77019915520491533</c:v>
                </c:pt>
                <c:pt idx="166">
                  <c:v>0.77468494728757964</c:v>
                </c:pt>
                <c:pt idx="167">
                  <c:v>0.78010018850799434</c:v>
                </c:pt>
                <c:pt idx="168">
                  <c:v>0.78575542833205358</c:v>
                </c:pt>
                <c:pt idx="169">
                  <c:v>0.79124485093904928</c:v>
                </c:pt>
                <c:pt idx="170">
                  <c:v>0.7959182782936538</c:v>
                </c:pt>
                <c:pt idx="171">
                  <c:v>0.79741063324722494</c:v>
                </c:pt>
                <c:pt idx="172">
                  <c:v>0.79811753822523235</c:v>
                </c:pt>
                <c:pt idx="173">
                  <c:v>0.8016302450603926</c:v>
                </c:pt>
                <c:pt idx="174">
                  <c:v>0.80631239963694779</c:v>
                </c:pt>
                <c:pt idx="175">
                  <c:v>0.81087673671716842</c:v>
                </c:pt>
                <c:pt idx="176">
                  <c:v>0.81543234657543828</c:v>
                </c:pt>
                <c:pt idx="177">
                  <c:v>0.81877050897158432</c:v>
                </c:pt>
                <c:pt idx="178">
                  <c:v>0.81969559449835949</c:v>
                </c:pt>
                <c:pt idx="179">
                  <c:v>0.82027595475808157</c:v>
                </c:pt>
                <c:pt idx="180">
                  <c:v>0.82272830412623077</c:v>
                </c:pt>
                <c:pt idx="181">
                  <c:v>0.8256562870906935</c:v>
                </c:pt>
                <c:pt idx="182">
                  <c:v>0.82897263143196276</c:v>
                </c:pt>
                <c:pt idx="183">
                  <c:v>0.83216243105494681</c:v>
                </c:pt>
                <c:pt idx="184">
                  <c:v>0.83382496683655682</c:v>
                </c:pt>
                <c:pt idx="185">
                  <c:v>0.83437914543042679</c:v>
                </c:pt>
                <c:pt idx="186">
                  <c:v>0.83478059764015944</c:v>
                </c:pt>
                <c:pt idx="187">
                  <c:v>0.83583222788521983</c:v>
                </c:pt>
                <c:pt idx="188">
                  <c:v>0.83840239474970346</c:v>
                </c:pt>
                <c:pt idx="189">
                  <c:v>0.84235146268239913</c:v>
                </c:pt>
                <c:pt idx="190">
                  <c:v>0.84755288696502151</c:v>
                </c:pt>
                <c:pt idx="191">
                  <c:v>0.85197758849403082</c:v>
                </c:pt>
                <c:pt idx="192">
                  <c:v>0.85292012846470733</c:v>
                </c:pt>
                <c:pt idx="193">
                  <c:v>0.85344812539272519</c:v>
                </c:pt>
                <c:pt idx="194">
                  <c:v>0.85677319695594523</c:v>
                </c:pt>
                <c:pt idx="195">
                  <c:v>0.8599411785240525</c:v>
                </c:pt>
                <c:pt idx="196">
                  <c:v>0.86313097814703643</c:v>
                </c:pt>
                <c:pt idx="197">
                  <c:v>0.86582332611883006</c:v>
                </c:pt>
                <c:pt idx="198">
                  <c:v>0.86790040494309872</c:v>
                </c:pt>
                <c:pt idx="199">
                  <c:v>0.86842840187111658</c:v>
                </c:pt>
                <c:pt idx="200">
                  <c:v>0.86875567269426823</c:v>
                </c:pt>
                <c:pt idx="201">
                  <c:v>0.87053166236123736</c:v>
                </c:pt>
                <c:pt idx="202">
                  <c:v>0.87264365007330891</c:v>
                </c:pt>
                <c:pt idx="203">
                  <c:v>0.87459854779026758</c:v>
                </c:pt>
                <c:pt idx="204">
                  <c:v>0.87593381274872606</c:v>
                </c:pt>
                <c:pt idx="205">
                  <c:v>0.87686326188647656</c:v>
                </c:pt>
                <c:pt idx="206">
                  <c:v>0.87697235216086034</c:v>
                </c:pt>
                <c:pt idx="207">
                  <c:v>0.87700289743768789</c:v>
                </c:pt>
                <c:pt idx="208">
                  <c:v>0.87786689241080806</c:v>
                </c:pt>
                <c:pt idx="209">
                  <c:v>0.87878325071563246</c:v>
                </c:pt>
                <c:pt idx="210">
                  <c:v>0.87976942679606251</c:v>
                </c:pt>
                <c:pt idx="211">
                  <c:v>0.88057233121552769</c:v>
                </c:pt>
                <c:pt idx="212">
                  <c:v>0.88103487397891522</c:v>
                </c:pt>
                <c:pt idx="213">
                  <c:v>0.88107414647769344</c:v>
                </c:pt>
                <c:pt idx="214">
                  <c:v>0.88108287369964411</c:v>
                </c:pt>
                <c:pt idx="215">
                  <c:v>0.88151050757522886</c:v>
                </c:pt>
                <c:pt idx="216">
                  <c:v>0.88212577672275383</c:v>
                </c:pt>
                <c:pt idx="217">
                  <c:v>0.88297668086294789</c:v>
                </c:pt>
                <c:pt idx="218">
                  <c:v>0.88388867555679695</c:v>
                </c:pt>
                <c:pt idx="219">
                  <c:v>0.88454758081407547</c:v>
                </c:pt>
                <c:pt idx="220">
                  <c:v>0.88459121692382903</c:v>
                </c:pt>
                <c:pt idx="221">
                  <c:v>0.88461739858968114</c:v>
                </c:pt>
                <c:pt idx="222">
                  <c:v>0.8853068491237871</c:v>
                </c:pt>
                <c:pt idx="223">
                  <c:v>0.88593520910423817</c:v>
                </c:pt>
                <c:pt idx="224">
                  <c:v>0.8864719332542067</c:v>
                </c:pt>
                <c:pt idx="225">
                  <c:v>0.8869170215736929</c:v>
                </c:pt>
                <c:pt idx="226">
                  <c:v>0.88733592822732688</c:v>
                </c:pt>
                <c:pt idx="227">
                  <c:v>0.88735774628220365</c:v>
                </c:pt>
                <c:pt idx="228">
                  <c:v>0.88748865461146431</c:v>
                </c:pt>
                <c:pt idx="229">
                  <c:v>0.88767192627242919</c:v>
                </c:pt>
                <c:pt idx="230">
                  <c:v>0.88790319765412296</c:v>
                </c:pt>
                <c:pt idx="231">
                  <c:v>0.8880821057041125</c:v>
                </c:pt>
                <c:pt idx="232">
                  <c:v>0.88833083152970771</c:v>
                </c:pt>
                <c:pt idx="233">
                  <c:v>0.88847046708091904</c:v>
                </c:pt>
                <c:pt idx="234">
                  <c:v>0.88847483069189437</c:v>
                </c:pt>
                <c:pt idx="235">
                  <c:v>0.88850537596872181</c:v>
                </c:pt>
                <c:pt idx="236">
                  <c:v>0.88857955735530292</c:v>
                </c:pt>
                <c:pt idx="237">
                  <c:v>0.88865810235285925</c:v>
                </c:pt>
                <c:pt idx="238">
                  <c:v>0.88877155623821846</c:v>
                </c:pt>
                <c:pt idx="239">
                  <c:v>0.8888631920687009</c:v>
                </c:pt>
                <c:pt idx="240">
                  <c:v>0.88891119178942979</c:v>
                </c:pt>
                <c:pt idx="241">
                  <c:v>0.88894610067723268</c:v>
                </c:pt>
                <c:pt idx="242">
                  <c:v>0.88894610067723268</c:v>
                </c:pt>
                <c:pt idx="243">
                  <c:v>0.88899410039796156</c:v>
                </c:pt>
                <c:pt idx="244">
                  <c:v>0.889081372617468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227A-4123-86A8-89323E6F14AF}"/>
            </c:ext>
          </c:extLst>
        </c:ser>
        <c:ser>
          <c:idx val="14"/>
          <c:order val="14"/>
          <c:tx>
            <c:strRef>
              <c:f>List1!$P$1</c:f>
              <c:strCache>
                <c:ptCount val="1"/>
                <c:pt idx="0">
                  <c:v>18 85+</c:v>
                </c:pt>
              </c:strCache>
            </c:strRef>
          </c:tx>
          <c:spPr>
            <a:ln w="2857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P$5:$P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.9632961779531641E-5</c:v>
                </c:pt>
                <c:pt idx="19">
                  <c:v>2.6504498402367714E-4</c:v>
                </c:pt>
                <c:pt idx="20">
                  <c:v>1.3055919583388541E-3</c:v>
                </c:pt>
                <c:pt idx="21">
                  <c:v>1.8504066477208572E-3</c:v>
                </c:pt>
                <c:pt idx="22">
                  <c:v>1.9534796970633985E-3</c:v>
                </c:pt>
                <c:pt idx="23">
                  <c:v>2.2234329215319584E-3</c:v>
                </c:pt>
                <c:pt idx="24">
                  <c:v>2.2381576428666073E-3</c:v>
                </c:pt>
                <c:pt idx="25">
                  <c:v>2.2381576428666073E-3</c:v>
                </c:pt>
                <c:pt idx="26">
                  <c:v>2.292148287760319E-3</c:v>
                </c:pt>
                <c:pt idx="27">
                  <c:v>2.3117812495398508E-3</c:v>
                </c:pt>
                <c:pt idx="28">
                  <c:v>2.3706801348784457E-3</c:v>
                </c:pt>
                <c:pt idx="29">
                  <c:v>3.3474199834101449E-3</c:v>
                </c:pt>
                <c:pt idx="30">
                  <c:v>4.8542497999891987E-3</c:v>
                </c:pt>
                <c:pt idx="31">
                  <c:v>5.0162217346703345E-3</c:v>
                </c:pt>
                <c:pt idx="32">
                  <c:v>5.2469090355798309E-3</c:v>
                </c:pt>
                <c:pt idx="33">
                  <c:v>6.758647092603768E-3</c:v>
                </c:pt>
                <c:pt idx="34">
                  <c:v>9.3698310092814752E-3</c:v>
                </c:pt>
                <c:pt idx="35">
                  <c:v>1.2250968150427744E-2</c:v>
                </c:pt>
                <c:pt idx="36">
                  <c:v>1.7100309709972061E-2</c:v>
                </c:pt>
                <c:pt idx="37">
                  <c:v>2.1223231683673703E-2</c:v>
                </c:pt>
                <c:pt idx="38">
                  <c:v>2.3554645894993086E-2</c:v>
                </c:pt>
                <c:pt idx="39">
                  <c:v>2.6705736260607914E-2</c:v>
                </c:pt>
                <c:pt idx="40">
                  <c:v>3.4696351704877296E-2</c:v>
                </c:pt>
                <c:pt idx="41">
                  <c:v>4.5440490038725988E-2</c:v>
                </c:pt>
                <c:pt idx="42">
                  <c:v>5.9036316071051649E-2</c:v>
                </c:pt>
                <c:pt idx="43">
                  <c:v>7.7255704602457009E-2</c:v>
                </c:pt>
                <c:pt idx="44">
                  <c:v>9.4248033022641647E-2</c:v>
                </c:pt>
                <c:pt idx="45">
                  <c:v>9.8410220919902355E-2</c:v>
                </c:pt>
                <c:pt idx="46">
                  <c:v>0.10060420439876501</c:v>
                </c:pt>
                <c:pt idx="47">
                  <c:v>0.11201586343311778</c:v>
                </c:pt>
                <c:pt idx="48">
                  <c:v>0.12425701510265576</c:v>
                </c:pt>
                <c:pt idx="49">
                  <c:v>0.13465266836491777</c:v>
                </c:pt>
                <c:pt idx="50">
                  <c:v>0.14450841517824264</c:v>
                </c:pt>
                <c:pt idx="51">
                  <c:v>0.15395677803464225</c:v>
                </c:pt>
                <c:pt idx="52">
                  <c:v>0.15642071473797348</c:v>
                </c:pt>
                <c:pt idx="53">
                  <c:v>0.15844290980126524</c:v>
                </c:pt>
                <c:pt idx="54">
                  <c:v>0.16849989447283031</c:v>
                </c:pt>
                <c:pt idx="55">
                  <c:v>0.18104535704995103</c:v>
                </c:pt>
                <c:pt idx="56">
                  <c:v>0.19137720318642956</c:v>
                </c:pt>
                <c:pt idx="57">
                  <c:v>0.19976538610673444</c:v>
                </c:pt>
                <c:pt idx="58">
                  <c:v>0.20803086301591728</c:v>
                </c:pt>
                <c:pt idx="59">
                  <c:v>0.20902232758578362</c:v>
                </c:pt>
                <c:pt idx="60">
                  <c:v>0.210180672330776</c:v>
                </c:pt>
                <c:pt idx="61">
                  <c:v>0.21526560943167469</c:v>
                </c:pt>
                <c:pt idx="62">
                  <c:v>0.22046834430325057</c:v>
                </c:pt>
                <c:pt idx="63">
                  <c:v>0.22698648761405507</c:v>
                </c:pt>
                <c:pt idx="64">
                  <c:v>0.23451082021606057</c:v>
                </c:pt>
                <c:pt idx="65">
                  <c:v>0.24246707797721578</c:v>
                </c:pt>
                <c:pt idx="66">
                  <c:v>0.24457762136851544</c:v>
                </c:pt>
                <c:pt idx="67">
                  <c:v>0.24658018347002766</c:v>
                </c:pt>
                <c:pt idx="68">
                  <c:v>0.25462478955919077</c:v>
                </c:pt>
                <c:pt idx="69">
                  <c:v>0.26508424994723623</c:v>
                </c:pt>
                <c:pt idx="70">
                  <c:v>0.27546027024771869</c:v>
                </c:pt>
                <c:pt idx="71">
                  <c:v>0.28577739166286259</c:v>
                </c:pt>
                <c:pt idx="72">
                  <c:v>0.29671785961450658</c:v>
                </c:pt>
                <c:pt idx="73">
                  <c:v>0.29891675133381412</c:v>
                </c:pt>
                <c:pt idx="74">
                  <c:v>0.30055119540196013</c:v>
                </c:pt>
                <c:pt idx="75">
                  <c:v>0.31402922366360858</c:v>
                </c:pt>
                <c:pt idx="76">
                  <c:v>0.3299073815028048</c:v>
                </c:pt>
                <c:pt idx="77">
                  <c:v>0.34406765518629201</c:v>
                </c:pt>
                <c:pt idx="78">
                  <c:v>0.36025994041396076</c:v>
                </c:pt>
                <c:pt idx="79">
                  <c:v>0.3763197031496176</c:v>
                </c:pt>
                <c:pt idx="80">
                  <c:v>0.37893088706629535</c:v>
                </c:pt>
                <c:pt idx="81">
                  <c:v>0.38111996230471312</c:v>
                </c:pt>
                <c:pt idx="82">
                  <c:v>0.39067139821045527</c:v>
                </c:pt>
                <c:pt idx="83">
                  <c:v>0.3994522403663508</c:v>
                </c:pt>
                <c:pt idx="84">
                  <c:v>0.40780115736309663</c:v>
                </c:pt>
                <c:pt idx="85">
                  <c:v>0.41654764183587795</c:v>
                </c:pt>
                <c:pt idx="86">
                  <c:v>0.42548063944556486</c:v>
                </c:pt>
                <c:pt idx="87">
                  <c:v>0.42791021846578192</c:v>
                </c:pt>
                <c:pt idx="88">
                  <c:v>0.42947594716769955</c:v>
                </c:pt>
                <c:pt idx="89">
                  <c:v>0.43646528156121284</c:v>
                </c:pt>
                <c:pt idx="90">
                  <c:v>0.44239443601863138</c:v>
                </c:pt>
                <c:pt idx="91">
                  <c:v>0.44926106440102254</c:v>
                </c:pt>
                <c:pt idx="92">
                  <c:v>0.45696209365904383</c:v>
                </c:pt>
                <c:pt idx="93">
                  <c:v>0.45910699473345767</c:v>
                </c:pt>
                <c:pt idx="94">
                  <c:v>0.46066290695448558</c:v>
                </c:pt>
                <c:pt idx="95">
                  <c:v>0.46200285659593859</c:v>
                </c:pt>
                <c:pt idx="96">
                  <c:v>0.46310721069603722</c:v>
                </c:pt>
                <c:pt idx="97">
                  <c:v>0.46795164401513667</c:v>
                </c:pt>
                <c:pt idx="98">
                  <c:v>0.47204511654616904</c:v>
                </c:pt>
                <c:pt idx="99">
                  <c:v>0.47641835878255973</c:v>
                </c:pt>
                <c:pt idx="100">
                  <c:v>0.48041857474513927</c:v>
                </c:pt>
                <c:pt idx="101">
                  <c:v>0.48197448696616718</c:v>
                </c:pt>
                <c:pt idx="102">
                  <c:v>0.48284815376535634</c:v>
                </c:pt>
                <c:pt idx="103">
                  <c:v>0.48522374214067965</c:v>
                </c:pt>
                <c:pt idx="104">
                  <c:v>0.48815396168627473</c:v>
                </c:pt>
                <c:pt idx="105">
                  <c:v>0.49082404448829103</c:v>
                </c:pt>
                <c:pt idx="106">
                  <c:v>0.49477517804642179</c:v>
                </c:pt>
                <c:pt idx="107">
                  <c:v>0.49855452318898164</c:v>
                </c:pt>
                <c:pt idx="108">
                  <c:v>0.4990797049165841</c:v>
                </c:pt>
                <c:pt idx="109">
                  <c:v>0.49953126303751333</c:v>
                </c:pt>
                <c:pt idx="110">
                  <c:v>0.50190685141283664</c:v>
                </c:pt>
                <c:pt idx="111">
                  <c:v>0.50404684424680557</c:v>
                </c:pt>
                <c:pt idx="112">
                  <c:v>0.50581381080696342</c:v>
                </c:pt>
                <c:pt idx="113">
                  <c:v>0.50800288604538124</c:v>
                </c:pt>
                <c:pt idx="114">
                  <c:v>0.50941155105306257</c:v>
                </c:pt>
                <c:pt idx="115">
                  <c:v>0.50980911852909816</c:v>
                </c:pt>
                <c:pt idx="116">
                  <c:v>0.51006434703223202</c:v>
                </c:pt>
                <c:pt idx="117">
                  <c:v>0.51117851761322042</c:v>
                </c:pt>
                <c:pt idx="118">
                  <c:v>0.51263626502535065</c:v>
                </c:pt>
                <c:pt idx="119">
                  <c:v>0.51450630463485103</c:v>
                </c:pt>
                <c:pt idx="120">
                  <c:v>0.51701932374263115</c:v>
                </c:pt>
                <c:pt idx="121">
                  <c:v>0.51832982394141491</c:v>
                </c:pt>
                <c:pt idx="122">
                  <c:v>0.5185703277232141</c:v>
                </c:pt>
                <c:pt idx="123">
                  <c:v>0.518786290302789</c:v>
                </c:pt>
                <c:pt idx="124">
                  <c:v>0.51945871924373799</c:v>
                </c:pt>
                <c:pt idx="125">
                  <c:v>0.52103426442654532</c:v>
                </c:pt>
                <c:pt idx="126">
                  <c:v>0.52269324969691577</c:v>
                </c:pt>
                <c:pt idx="127">
                  <c:v>0.52480379308821545</c:v>
                </c:pt>
                <c:pt idx="128">
                  <c:v>0.52661002557193237</c:v>
                </c:pt>
                <c:pt idx="129">
                  <c:v>0.52678672222794809</c:v>
                </c:pt>
                <c:pt idx="130">
                  <c:v>0.5269290612008497</c:v>
                </c:pt>
                <c:pt idx="131">
                  <c:v>0.52932919077839746</c:v>
                </c:pt>
                <c:pt idx="132">
                  <c:v>0.5327502343684809</c:v>
                </c:pt>
                <c:pt idx="133">
                  <c:v>0.53646086414481231</c:v>
                </c:pt>
                <c:pt idx="134">
                  <c:v>0.54031383289404544</c:v>
                </c:pt>
                <c:pt idx="135">
                  <c:v>0.54327841012275468</c:v>
                </c:pt>
                <c:pt idx="136">
                  <c:v>0.54426496645217615</c:v>
                </c:pt>
                <c:pt idx="137">
                  <c:v>0.54518280741536929</c:v>
                </c:pt>
                <c:pt idx="138">
                  <c:v>0.54766637708048005</c:v>
                </c:pt>
                <c:pt idx="139">
                  <c:v>0.55134264917369735</c:v>
                </c:pt>
                <c:pt idx="140">
                  <c:v>0.55575515733364711</c:v>
                </c:pt>
                <c:pt idx="141">
                  <c:v>0.56155669753949866</c:v>
                </c:pt>
                <c:pt idx="142">
                  <c:v>0.56536549212472775</c:v>
                </c:pt>
                <c:pt idx="143">
                  <c:v>0.56618026003857835</c:v>
                </c:pt>
                <c:pt idx="144">
                  <c:v>0.56674470768973995</c:v>
                </c:pt>
                <c:pt idx="145">
                  <c:v>0.57134372898659513</c:v>
                </c:pt>
                <c:pt idx="146">
                  <c:v>0.57757719435159649</c:v>
                </c:pt>
                <c:pt idx="147">
                  <c:v>0.58328547798899533</c:v>
                </c:pt>
                <c:pt idx="148">
                  <c:v>0.58914591708018549</c:v>
                </c:pt>
                <c:pt idx="149">
                  <c:v>0.59335718738189502</c:v>
                </c:pt>
                <c:pt idx="150">
                  <c:v>0.59395599271617072</c:v>
                </c:pt>
                <c:pt idx="151">
                  <c:v>0.59470695350423786</c:v>
                </c:pt>
                <c:pt idx="152">
                  <c:v>0.59813290533476615</c:v>
                </c:pt>
                <c:pt idx="153">
                  <c:v>0.60297243041342063</c:v>
                </c:pt>
                <c:pt idx="154">
                  <c:v>0.60965254565890625</c:v>
                </c:pt>
                <c:pt idx="155">
                  <c:v>0.61643573395373452</c:v>
                </c:pt>
                <c:pt idx="156">
                  <c:v>0.62073535258345192</c:v>
                </c:pt>
                <c:pt idx="157">
                  <c:v>0.62155012049730252</c:v>
                </c:pt>
                <c:pt idx="158">
                  <c:v>0.62196732093511753</c:v>
                </c:pt>
                <c:pt idx="159">
                  <c:v>0.6258742803292443</c:v>
                </c:pt>
                <c:pt idx="160">
                  <c:v>0.63059109939677682</c:v>
                </c:pt>
                <c:pt idx="161">
                  <c:v>0.63436553629889181</c:v>
                </c:pt>
                <c:pt idx="162">
                  <c:v>0.64113399987238529</c:v>
                </c:pt>
                <c:pt idx="163">
                  <c:v>0.64606678151949259</c:v>
                </c:pt>
                <c:pt idx="164">
                  <c:v>0.64723003450492989</c:v>
                </c:pt>
                <c:pt idx="165">
                  <c:v>0.64794172936943784</c:v>
                </c:pt>
                <c:pt idx="166">
                  <c:v>0.65148057073019849</c:v>
                </c:pt>
                <c:pt idx="167">
                  <c:v>0.6556476668679041</c:v>
                </c:pt>
                <c:pt idx="168">
                  <c:v>0.65955462626203087</c:v>
                </c:pt>
                <c:pt idx="169">
                  <c:v>0.66410456515443728</c:v>
                </c:pt>
                <c:pt idx="170">
                  <c:v>0.6676237735534184</c:v>
                </c:pt>
                <c:pt idx="171">
                  <c:v>0.66872321941307211</c:v>
                </c:pt>
                <c:pt idx="172">
                  <c:v>0.66933674946868249</c:v>
                </c:pt>
                <c:pt idx="173">
                  <c:v>0.67212953828182087</c:v>
                </c:pt>
                <c:pt idx="174">
                  <c:v>0.67586961750082164</c:v>
                </c:pt>
                <c:pt idx="175">
                  <c:v>0.67917777156067272</c:v>
                </c:pt>
                <c:pt idx="176">
                  <c:v>0.68287858485611441</c:v>
                </c:pt>
                <c:pt idx="177">
                  <c:v>0.68552412645590632</c:v>
                </c:pt>
                <c:pt idx="178">
                  <c:v>0.68636343557198132</c:v>
                </c:pt>
                <c:pt idx="179">
                  <c:v>0.68681499369291055</c:v>
                </c:pt>
                <c:pt idx="180">
                  <c:v>0.68873411570685972</c:v>
                </c:pt>
                <c:pt idx="181">
                  <c:v>0.69150236331777371</c:v>
                </c:pt>
                <c:pt idx="182">
                  <c:v>0.69447675702737277</c:v>
                </c:pt>
                <c:pt idx="183">
                  <c:v>0.69720083047428283</c:v>
                </c:pt>
                <c:pt idx="184">
                  <c:v>0.69844261530683815</c:v>
                </c:pt>
                <c:pt idx="185">
                  <c:v>0.69898742999622021</c:v>
                </c:pt>
                <c:pt idx="186">
                  <c:v>0.69932609858691708</c:v>
                </c:pt>
                <c:pt idx="187">
                  <c:v>0.70026357251188975</c:v>
                </c:pt>
                <c:pt idx="188">
                  <c:v>0.70219251100672875</c:v>
                </c:pt>
                <c:pt idx="189">
                  <c:v>0.70529451896789475</c:v>
                </c:pt>
                <c:pt idx="190">
                  <c:v>0.70948615630782474</c:v>
                </c:pt>
                <c:pt idx="191">
                  <c:v>0.71312316247748297</c:v>
                </c:pt>
                <c:pt idx="192">
                  <c:v>0.71408517760467993</c:v>
                </c:pt>
                <c:pt idx="193">
                  <c:v>0.71453673572560916</c:v>
                </c:pt>
                <c:pt idx="194">
                  <c:v>0.71713319492095229</c:v>
                </c:pt>
                <c:pt idx="195">
                  <c:v>0.71956768218161415</c:v>
                </c:pt>
                <c:pt idx="196">
                  <c:v>0.72221322378140607</c:v>
                </c:pt>
                <c:pt idx="197">
                  <c:v>0.72471642640829637</c:v>
                </c:pt>
                <c:pt idx="198">
                  <c:v>0.72639995288089121</c:v>
                </c:pt>
                <c:pt idx="199">
                  <c:v>0.72686132748271015</c:v>
                </c:pt>
                <c:pt idx="200">
                  <c:v>0.72716563839029291</c:v>
                </c:pt>
                <c:pt idx="201">
                  <c:v>0.7287362753326555</c:v>
                </c:pt>
                <c:pt idx="202">
                  <c:v>0.73063085614438028</c:v>
                </c:pt>
                <c:pt idx="203">
                  <c:v>0.73237328150231373</c:v>
                </c:pt>
                <c:pt idx="204">
                  <c:v>0.73437584360382591</c:v>
                </c:pt>
                <c:pt idx="205">
                  <c:v>0.73590230638218457</c:v>
                </c:pt>
                <c:pt idx="206">
                  <c:v>0.73665817541069645</c:v>
                </c:pt>
                <c:pt idx="207">
                  <c:v>0.73739931971787376</c:v>
                </c:pt>
                <c:pt idx="208">
                  <c:v>0.73876381056155127</c:v>
                </c:pt>
                <c:pt idx="209">
                  <c:v>0.74024119093546104</c:v>
                </c:pt>
                <c:pt idx="210">
                  <c:v>0.74166458066447705</c:v>
                </c:pt>
                <c:pt idx="211">
                  <c:v>0.74304379622948913</c:v>
                </c:pt>
                <c:pt idx="212">
                  <c:v>0.74410397616558388</c:v>
                </c:pt>
                <c:pt idx="213">
                  <c:v>0.74480585454920212</c:v>
                </c:pt>
                <c:pt idx="214">
                  <c:v>0.74636667501067488</c:v>
                </c:pt>
                <c:pt idx="215">
                  <c:v>0.74825634758195481</c:v>
                </c:pt>
                <c:pt idx="216">
                  <c:v>0.75030308384747102</c:v>
                </c:pt>
                <c:pt idx="217">
                  <c:v>0.75248725084544388</c:v>
                </c:pt>
                <c:pt idx="218">
                  <c:v>0.75387628289134578</c:v>
                </c:pt>
                <c:pt idx="219">
                  <c:v>0.75496100402966482</c:v>
                </c:pt>
                <c:pt idx="220">
                  <c:v>0.75561380000883427</c:v>
                </c:pt>
                <c:pt idx="221">
                  <c:v>0.75624696302622418</c:v>
                </c:pt>
                <c:pt idx="222">
                  <c:v>0.7574789313778898</c:v>
                </c:pt>
                <c:pt idx="223">
                  <c:v>0.7587354409317798</c:v>
                </c:pt>
                <c:pt idx="224">
                  <c:v>0.7598496115127682</c:v>
                </c:pt>
                <c:pt idx="225">
                  <c:v>0.76112575402843785</c:v>
                </c:pt>
                <c:pt idx="226">
                  <c:v>0.76231354821609942</c:v>
                </c:pt>
                <c:pt idx="227">
                  <c:v>0.76319212325573349</c:v>
                </c:pt>
                <c:pt idx="228">
                  <c:v>0.76408542301670224</c:v>
                </c:pt>
                <c:pt idx="229">
                  <c:v>0.76505234638434416</c:v>
                </c:pt>
                <c:pt idx="230">
                  <c:v>0.7661125263204388</c:v>
                </c:pt>
                <c:pt idx="231">
                  <c:v>0.76717761449697841</c:v>
                </c:pt>
                <c:pt idx="232">
                  <c:v>0.76836050044419524</c:v>
                </c:pt>
                <c:pt idx="233">
                  <c:v>0.76940104741851034</c:v>
                </c:pt>
                <c:pt idx="234">
                  <c:v>0.77025998949636487</c:v>
                </c:pt>
                <c:pt idx="235">
                  <c:v>0.77114347277644379</c:v>
                </c:pt>
                <c:pt idx="236">
                  <c:v>0.77204658901830225</c:v>
                </c:pt>
                <c:pt idx="237">
                  <c:v>0.77300369590505447</c:v>
                </c:pt>
                <c:pt idx="238">
                  <c:v>0.77396080279180657</c:v>
                </c:pt>
                <c:pt idx="239">
                  <c:v>0.7749031849572241</c:v>
                </c:pt>
                <c:pt idx="240">
                  <c:v>0.77579648471819285</c:v>
                </c:pt>
                <c:pt idx="241">
                  <c:v>0.77666033503649223</c:v>
                </c:pt>
                <c:pt idx="242">
                  <c:v>0.77751927711434676</c:v>
                </c:pt>
                <c:pt idx="243">
                  <c:v>0.77842239335620522</c:v>
                </c:pt>
                <c:pt idx="244">
                  <c:v>0.779423674406961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227A-4123-86A8-89323E6F14AF}"/>
            </c:ext>
          </c:extLst>
        </c:ser>
        <c:ser>
          <c:idx val="15"/>
          <c:order val="15"/>
          <c:tx>
            <c:strRef>
              <c:f>List1!$Q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Q$5:$Q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.2329552940020589E-7</c:v>
                </c:pt>
                <c:pt idx="18">
                  <c:v>7.1007978349265472E-5</c:v>
                </c:pt>
                <c:pt idx="19">
                  <c:v>2.7342537575055208E-4</c:v>
                </c:pt>
                <c:pt idx="20">
                  <c:v>5.7498598820553018E-4</c:v>
                </c:pt>
                <c:pt idx="21">
                  <c:v>8.6850796160210081E-4</c:v>
                </c:pt>
                <c:pt idx="22">
                  <c:v>1.060765412415678E-3</c:v>
                </c:pt>
                <c:pt idx="23">
                  <c:v>1.1762092011155844E-3</c:v>
                </c:pt>
                <c:pt idx="24">
                  <c:v>1.2730078131105737E-3</c:v>
                </c:pt>
                <c:pt idx="25">
                  <c:v>1.3693598340467625E-3</c:v>
                </c:pt>
                <c:pt idx="26">
                  <c:v>1.6992789787355668E-3</c:v>
                </c:pt>
                <c:pt idx="27">
                  <c:v>2.1409575358891739E-3</c:v>
                </c:pt>
                <c:pt idx="28">
                  <c:v>2.6428142382161368E-3</c:v>
                </c:pt>
                <c:pt idx="29">
                  <c:v>3.3226374774750636E-3</c:v>
                </c:pt>
                <c:pt idx="30">
                  <c:v>4.1956113496651685E-3</c:v>
                </c:pt>
                <c:pt idx="31">
                  <c:v>4.3164142310706801E-3</c:v>
                </c:pt>
                <c:pt idx="32">
                  <c:v>4.4472654112992002E-3</c:v>
                </c:pt>
                <c:pt idx="33">
                  <c:v>5.3276080359595124E-3</c:v>
                </c:pt>
                <c:pt idx="34">
                  <c:v>6.4629541551948586E-3</c:v>
                </c:pt>
                <c:pt idx="35">
                  <c:v>7.6856088264256857E-3</c:v>
                </c:pt>
                <c:pt idx="36">
                  <c:v>9.127204764233416E-3</c:v>
                </c:pt>
                <c:pt idx="37">
                  <c:v>1.0313238968642609E-2</c:v>
                </c:pt>
                <c:pt idx="38">
                  <c:v>1.0574159794746749E-2</c:v>
                </c:pt>
                <c:pt idx="39">
                  <c:v>1.0850599660144204E-2</c:v>
                </c:pt>
                <c:pt idx="40">
                  <c:v>1.2117801789490373E-2</c:v>
                </c:pt>
                <c:pt idx="41">
                  <c:v>1.3445851950598097E-2</c:v>
                </c:pt>
                <c:pt idx="42">
                  <c:v>1.4916587954992552E-2</c:v>
                </c:pt>
                <c:pt idx="43">
                  <c:v>1.6715903330899413E-2</c:v>
                </c:pt>
                <c:pt idx="44">
                  <c:v>1.835042660610892E-2</c:v>
                </c:pt>
                <c:pt idx="45">
                  <c:v>1.8682132115032925E-2</c:v>
                </c:pt>
                <c:pt idx="46">
                  <c:v>1.8834866257142667E-2</c:v>
                </c:pt>
                <c:pt idx="47">
                  <c:v>1.9873860355441825E-2</c:v>
                </c:pt>
                <c:pt idx="48">
                  <c:v>2.0880476601977952E-2</c:v>
                </c:pt>
                <c:pt idx="49">
                  <c:v>2.1801124069695001E-2</c:v>
                </c:pt>
                <c:pt idx="50">
                  <c:v>2.2692408175295921E-2</c:v>
                </c:pt>
                <c:pt idx="51">
                  <c:v>2.3506097084430272E-2</c:v>
                </c:pt>
                <c:pt idx="52">
                  <c:v>2.3635943434776492E-2</c:v>
                </c:pt>
                <c:pt idx="53">
                  <c:v>2.3748261086064797E-2</c:v>
                </c:pt>
                <c:pt idx="54">
                  <c:v>2.4416919548853711E-2</c:v>
                </c:pt>
                <c:pt idx="55">
                  <c:v>2.5191196797048926E-2</c:v>
                </c:pt>
                <c:pt idx="56">
                  <c:v>2.5860525146426044E-2</c:v>
                </c:pt>
                <c:pt idx="57">
                  <c:v>2.6476150920982412E-2</c:v>
                </c:pt>
                <c:pt idx="58">
                  <c:v>2.7069335494834059E-2</c:v>
                </c:pt>
                <c:pt idx="59">
                  <c:v>2.7130518469889713E-2</c:v>
                </c:pt>
                <c:pt idx="60">
                  <c:v>2.719103155835717E-2</c:v>
                </c:pt>
                <c:pt idx="61">
                  <c:v>2.7569964071749321E-2</c:v>
                </c:pt>
                <c:pt idx="62">
                  <c:v>2.7963410794552484E-2</c:v>
                </c:pt>
                <c:pt idx="63">
                  <c:v>2.8462811246056041E-2</c:v>
                </c:pt>
                <c:pt idx="64">
                  <c:v>2.8981861704146822E-2</c:v>
                </c:pt>
                <c:pt idx="65">
                  <c:v>2.9580628666233472E-2</c:v>
                </c:pt>
                <c:pt idx="66">
                  <c:v>2.9673966197522758E-2</c:v>
                </c:pt>
                <c:pt idx="67">
                  <c:v>2.9766410546694443E-2</c:v>
                </c:pt>
                <c:pt idx="68">
                  <c:v>3.0303324647137239E-2</c:v>
                </c:pt>
                <c:pt idx="69">
                  <c:v>3.1010166645453592E-2</c:v>
                </c:pt>
                <c:pt idx="70">
                  <c:v>3.1781875995060702E-2</c:v>
                </c:pt>
                <c:pt idx="71">
                  <c:v>3.2710115510777356E-2</c:v>
                </c:pt>
                <c:pt idx="72">
                  <c:v>3.3650078041787525E-2</c:v>
                </c:pt>
                <c:pt idx="73">
                  <c:v>3.3793433771662461E-2</c:v>
                </c:pt>
                <c:pt idx="74">
                  <c:v>3.3919149154714771E-2</c:v>
                </c:pt>
                <c:pt idx="75">
                  <c:v>3.4895397209252471E-2</c:v>
                </c:pt>
                <c:pt idx="76">
                  <c:v>3.6064014362368453E-2</c:v>
                </c:pt>
                <c:pt idx="77">
                  <c:v>3.7230956799013927E-2</c:v>
                </c:pt>
                <c:pt idx="78">
                  <c:v>3.8610588227413097E-2</c:v>
                </c:pt>
                <c:pt idx="79">
                  <c:v>4.0122410609217195E-2</c:v>
                </c:pt>
                <c:pt idx="80">
                  <c:v>4.0346264377440898E-2</c:v>
                </c:pt>
                <c:pt idx="81">
                  <c:v>4.0517085457432059E-2</c:v>
                </c:pt>
                <c:pt idx="82">
                  <c:v>4.1900177966536931E-2</c:v>
                </c:pt>
                <c:pt idx="83">
                  <c:v>4.3378840962225093E-2</c:v>
                </c:pt>
                <c:pt idx="84">
                  <c:v>4.5124677058840608E-2</c:v>
                </c:pt>
                <c:pt idx="85">
                  <c:v>4.7110890792855437E-2</c:v>
                </c:pt>
                <c:pt idx="86">
                  <c:v>4.9055794853931231E-2</c:v>
                </c:pt>
                <c:pt idx="87">
                  <c:v>4.9592708954374023E-2</c:v>
                </c:pt>
                <c:pt idx="88">
                  <c:v>5.0051692915056151E-2</c:v>
                </c:pt>
                <c:pt idx="89">
                  <c:v>5.2349962151407768E-2</c:v>
                </c:pt>
                <c:pt idx="90">
                  <c:v>5.4813693375044936E-2</c:v>
                </c:pt>
                <c:pt idx="91">
                  <c:v>5.7822265690418609E-2</c:v>
                </c:pt>
                <c:pt idx="92">
                  <c:v>6.1378805234940388E-2</c:v>
                </c:pt>
                <c:pt idx="93">
                  <c:v>6.2797513380984604E-2</c:v>
                </c:pt>
                <c:pt idx="94">
                  <c:v>6.4012017765392323E-2</c:v>
                </c:pt>
                <c:pt idx="95">
                  <c:v>6.4987037694518315E-2</c:v>
                </c:pt>
                <c:pt idx="96">
                  <c:v>6.5784314382241749E-2</c:v>
                </c:pt>
                <c:pt idx="97">
                  <c:v>6.9037618597838052E-2</c:v>
                </c:pt>
                <c:pt idx="98">
                  <c:v>7.1498893570651825E-2</c:v>
                </c:pt>
                <c:pt idx="99">
                  <c:v>7.4937309780120892E-2</c:v>
                </c:pt>
                <c:pt idx="100">
                  <c:v>7.8275354649124565E-2</c:v>
                </c:pt>
                <c:pt idx="101">
                  <c:v>7.997117254715444E-2</c:v>
                </c:pt>
                <c:pt idx="102">
                  <c:v>8.1085640534390865E-2</c:v>
                </c:pt>
                <c:pt idx="103">
                  <c:v>8.385294203024761E-2</c:v>
                </c:pt>
                <c:pt idx="104">
                  <c:v>8.6734347541627871E-2</c:v>
                </c:pt>
                <c:pt idx="105">
                  <c:v>8.977708407299978E-2</c:v>
                </c:pt>
                <c:pt idx="106">
                  <c:v>9.2631694120852009E-2</c:v>
                </c:pt>
                <c:pt idx="107">
                  <c:v>9.5482284849175036E-2</c:v>
                </c:pt>
                <c:pt idx="108">
                  <c:v>9.6485216719476061E-2</c:v>
                </c:pt>
                <c:pt idx="109">
                  <c:v>9.7037203268153363E-2</c:v>
                </c:pt>
                <c:pt idx="110">
                  <c:v>9.8747981966653048E-2</c:v>
                </c:pt>
                <c:pt idx="111">
                  <c:v>0.10050520613526796</c:v>
                </c:pt>
                <c:pt idx="112">
                  <c:v>0.10207966291306882</c:v>
                </c:pt>
                <c:pt idx="113">
                  <c:v>0.1040084896960278</c:v>
                </c:pt>
                <c:pt idx="114">
                  <c:v>0.10534234554089993</c:v>
                </c:pt>
                <c:pt idx="115">
                  <c:v>0.10592168579192876</c:v>
                </c:pt>
                <c:pt idx="116">
                  <c:v>0.10636548565661166</c:v>
                </c:pt>
                <c:pt idx="117">
                  <c:v>0.10718598507939273</c:v>
                </c:pt>
                <c:pt idx="118">
                  <c:v>0.10853792786214628</c:v>
                </c:pt>
                <c:pt idx="119">
                  <c:v>0.1100873755406543</c:v>
                </c:pt>
                <c:pt idx="120">
                  <c:v>0.11184147357185761</c:v>
                </c:pt>
                <c:pt idx="121">
                  <c:v>0.11294131570191833</c:v>
                </c:pt>
                <c:pt idx="122">
                  <c:v>0.11331689878236947</c:v>
                </c:pt>
                <c:pt idx="123">
                  <c:v>0.11356520341106251</c:v>
                </c:pt>
                <c:pt idx="124">
                  <c:v>0.11412154422256313</c:v>
                </c:pt>
                <c:pt idx="125">
                  <c:v>0.11504096356486847</c:v>
                </c:pt>
                <c:pt idx="126">
                  <c:v>0.11607750141234423</c:v>
                </c:pt>
                <c:pt idx="127">
                  <c:v>0.11725549697769501</c:v>
                </c:pt>
                <c:pt idx="128">
                  <c:v>0.11836270786022593</c:v>
                </c:pt>
                <c:pt idx="129">
                  <c:v>0.11855172752586321</c:v>
                </c:pt>
                <c:pt idx="130">
                  <c:v>0.11868190881950352</c:v>
                </c:pt>
                <c:pt idx="131">
                  <c:v>0.11947371476675665</c:v>
                </c:pt>
                <c:pt idx="132">
                  <c:v>0.12044661338835336</c:v>
                </c:pt>
                <c:pt idx="133">
                  <c:v>0.12144429781371348</c:v>
                </c:pt>
                <c:pt idx="134">
                  <c:v>0.12245504502754351</c:v>
                </c:pt>
                <c:pt idx="135">
                  <c:v>0.12330903877973459</c:v>
                </c:pt>
                <c:pt idx="136">
                  <c:v>0.1235472951096046</c:v>
                </c:pt>
                <c:pt idx="137">
                  <c:v>0.12367848123312723</c:v>
                </c:pt>
                <c:pt idx="138">
                  <c:v>0.12441770108320661</c:v>
                </c:pt>
                <c:pt idx="139">
                  <c:v>0.12585583594030864</c:v>
                </c:pt>
                <c:pt idx="140">
                  <c:v>0.12752809615998678</c:v>
                </c:pt>
                <c:pt idx="141">
                  <c:v>0.13051925142406723</c:v>
                </c:pt>
                <c:pt idx="142">
                  <c:v>0.13359458910273159</c:v>
                </c:pt>
                <c:pt idx="143">
                  <c:v>0.1348256173563149</c:v>
                </c:pt>
                <c:pt idx="144">
                  <c:v>0.13582285519061624</c:v>
                </c:pt>
                <c:pt idx="145">
                  <c:v>0.13955021581512916</c:v>
                </c:pt>
                <c:pt idx="146">
                  <c:v>0.14351583276951213</c:v>
                </c:pt>
                <c:pt idx="147">
                  <c:v>0.14768051768835536</c:v>
                </c:pt>
                <c:pt idx="148">
                  <c:v>0.1529275160382014</c:v>
                </c:pt>
                <c:pt idx="149">
                  <c:v>0.15808742913158136</c:v>
                </c:pt>
                <c:pt idx="150">
                  <c:v>0.1599797470954834</c:v>
                </c:pt>
                <c:pt idx="151">
                  <c:v>0.16158044109798878</c:v>
                </c:pt>
                <c:pt idx="152">
                  <c:v>0.16683335677936392</c:v>
                </c:pt>
                <c:pt idx="153">
                  <c:v>0.17219613386120397</c:v>
                </c:pt>
                <c:pt idx="154">
                  <c:v>0.1781896091658349</c:v>
                </c:pt>
                <c:pt idx="155">
                  <c:v>0.18484962162572544</c:v>
                </c:pt>
                <c:pt idx="156">
                  <c:v>0.19116709874351606</c:v>
                </c:pt>
                <c:pt idx="157">
                  <c:v>0.19324441705352619</c:v>
                </c:pt>
                <c:pt idx="158">
                  <c:v>0.194915672443322</c:v>
                </c:pt>
                <c:pt idx="159">
                  <c:v>0.20103285347124064</c:v>
                </c:pt>
                <c:pt idx="160">
                  <c:v>0.20704910491987039</c:v>
                </c:pt>
                <c:pt idx="161">
                  <c:v>0.21285925459486377</c:v>
                </c:pt>
                <c:pt idx="162">
                  <c:v>0.22114039259819979</c:v>
                </c:pt>
                <c:pt idx="163">
                  <c:v>0.22940790957424242</c:v>
                </c:pt>
                <c:pt idx="164">
                  <c:v>0.23242932138255659</c:v>
                </c:pt>
                <c:pt idx="165">
                  <c:v>0.23519137543347243</c:v>
                </c:pt>
                <c:pt idx="166">
                  <c:v>0.24364076661821155</c:v>
                </c:pt>
                <c:pt idx="167">
                  <c:v>0.25191006995848936</c:v>
                </c:pt>
                <c:pt idx="168">
                  <c:v>0.26075502917356091</c:v>
                </c:pt>
                <c:pt idx="169">
                  <c:v>0.27037795001306281</c:v>
                </c:pt>
                <c:pt idx="170">
                  <c:v>0.27978661879210515</c:v>
                </c:pt>
                <c:pt idx="171">
                  <c:v>0.28386042243048254</c:v>
                </c:pt>
                <c:pt idx="172">
                  <c:v>0.28715302665925324</c:v>
                </c:pt>
                <c:pt idx="173">
                  <c:v>0.29584558667550914</c:v>
                </c:pt>
                <c:pt idx="174">
                  <c:v>0.3049114968169222</c:v>
                </c:pt>
                <c:pt idx="175">
                  <c:v>0.31451141821689588</c:v>
                </c:pt>
                <c:pt idx="176">
                  <c:v>0.32463474433778361</c:v>
                </c:pt>
                <c:pt idx="177">
                  <c:v>0.3341825262316423</c:v>
                </c:pt>
                <c:pt idx="178">
                  <c:v>0.33834129381895645</c:v>
                </c:pt>
                <c:pt idx="179">
                  <c:v>0.3417807148583078</c:v>
                </c:pt>
                <c:pt idx="180">
                  <c:v>0.35049884221268007</c:v>
                </c:pt>
                <c:pt idx="181">
                  <c:v>0.35926542469693212</c:v>
                </c:pt>
                <c:pt idx="182">
                  <c:v>0.36860409032750757</c:v>
                </c:pt>
                <c:pt idx="183">
                  <c:v>0.37761730272398214</c:v>
                </c:pt>
                <c:pt idx="184">
                  <c:v>0.38557935141580529</c:v>
                </c:pt>
                <c:pt idx="185">
                  <c:v>0.38972896388641404</c:v>
                </c:pt>
                <c:pt idx="186">
                  <c:v>0.39277583138507982</c:v>
                </c:pt>
                <c:pt idx="187">
                  <c:v>0.39835308382290879</c:v>
                </c:pt>
                <c:pt idx="188">
                  <c:v>0.40470193396258014</c:v>
                </c:pt>
                <c:pt idx="189">
                  <c:v>0.41336133459272012</c:v>
                </c:pt>
                <c:pt idx="190">
                  <c:v>0.42162807003440983</c:v>
                </c:pt>
                <c:pt idx="191">
                  <c:v>0.42995565350786114</c:v>
                </c:pt>
                <c:pt idx="192">
                  <c:v>0.43411486768623403</c:v>
                </c:pt>
                <c:pt idx="193">
                  <c:v>0.43715994882066467</c:v>
                </c:pt>
                <c:pt idx="194">
                  <c:v>0.44447767826240353</c:v>
                </c:pt>
                <c:pt idx="195">
                  <c:v>0.4521820439132988</c:v>
                </c:pt>
                <c:pt idx="196">
                  <c:v>0.46039195064275618</c:v>
                </c:pt>
                <c:pt idx="197">
                  <c:v>0.46793844635436554</c:v>
                </c:pt>
                <c:pt idx="198">
                  <c:v>0.47554768810973636</c:v>
                </c:pt>
                <c:pt idx="199">
                  <c:v>0.47958252667823337</c:v>
                </c:pt>
                <c:pt idx="200">
                  <c:v>0.4828417482253588</c:v>
                </c:pt>
                <c:pt idx="201">
                  <c:v>0.49024622798026962</c:v>
                </c:pt>
                <c:pt idx="202">
                  <c:v>0.4978073495490547</c:v>
                </c:pt>
                <c:pt idx="203">
                  <c:v>0.50366204668216341</c:v>
                </c:pt>
                <c:pt idx="204">
                  <c:v>0.50882821205036655</c:v>
                </c:pt>
                <c:pt idx="205">
                  <c:v>0.51379385803316835</c:v>
                </c:pt>
                <c:pt idx="206">
                  <c:v>0.51817659103647085</c:v>
                </c:pt>
                <c:pt idx="207">
                  <c:v>0.52239977938401694</c:v>
                </c:pt>
                <c:pt idx="208">
                  <c:v>0.52721146309929734</c:v>
                </c:pt>
                <c:pt idx="209">
                  <c:v>0.5321331198628072</c:v>
                </c:pt>
                <c:pt idx="210">
                  <c:v>0.53705946583243458</c:v>
                </c:pt>
                <c:pt idx="211">
                  <c:v>0.54193434218253511</c:v>
                </c:pt>
                <c:pt idx="212">
                  <c:v>0.54653534656582636</c:v>
                </c:pt>
                <c:pt idx="213">
                  <c:v>0.55076221928960756</c:v>
                </c:pt>
                <c:pt idx="214">
                  <c:v>0.55601848440392376</c:v>
                </c:pt>
                <c:pt idx="215">
                  <c:v>0.56159953286575248</c:v>
                </c:pt>
                <c:pt idx="216">
                  <c:v>0.56728999613698738</c:v>
                </c:pt>
                <c:pt idx="217">
                  <c:v>0.57290442728046143</c:v>
                </c:pt>
                <c:pt idx="218">
                  <c:v>0.57853504734981698</c:v>
                </c:pt>
                <c:pt idx="219">
                  <c:v>0.58399763753329892</c:v>
                </c:pt>
                <c:pt idx="220">
                  <c:v>0.58899789432315774</c:v>
                </c:pt>
                <c:pt idx="221">
                  <c:v>0.59399580650995787</c:v>
                </c:pt>
                <c:pt idx="222">
                  <c:v>0.5994401981077937</c:v>
                </c:pt>
                <c:pt idx="223">
                  <c:v>0.60496765564256638</c:v>
                </c:pt>
                <c:pt idx="224">
                  <c:v>0.61043616315757743</c:v>
                </c:pt>
                <c:pt idx="225">
                  <c:v>0.61757146015179631</c:v>
                </c:pt>
                <c:pt idx="226">
                  <c:v>0.62460850711307914</c:v>
                </c:pt>
                <c:pt idx="227">
                  <c:v>0.63136777443578807</c:v>
                </c:pt>
                <c:pt idx="228">
                  <c:v>0.63810002299943958</c:v>
                </c:pt>
                <c:pt idx="229">
                  <c:v>0.64502799009461032</c:v>
                </c:pt>
                <c:pt idx="230">
                  <c:v>0.65166868749120777</c:v>
                </c:pt>
                <c:pt idx="231">
                  <c:v>0.65827131300004238</c:v>
                </c:pt>
                <c:pt idx="232">
                  <c:v>0.66488231209122961</c:v>
                </c:pt>
                <c:pt idx="233">
                  <c:v>0.67139405631959848</c:v>
                </c:pt>
                <c:pt idx="234">
                  <c:v>0.67778354624562065</c:v>
                </c:pt>
                <c:pt idx="235">
                  <c:v>0.68320281709639896</c:v>
                </c:pt>
                <c:pt idx="236">
                  <c:v>0.68869800842717332</c:v>
                </c:pt>
                <c:pt idx="237">
                  <c:v>0.69400306361466335</c:v>
                </c:pt>
                <c:pt idx="238">
                  <c:v>0.69930543925580069</c:v>
                </c:pt>
                <c:pt idx="239">
                  <c:v>0.70461094103434951</c:v>
                </c:pt>
                <c:pt idx="240">
                  <c:v>0.70862713442614167</c:v>
                </c:pt>
                <c:pt idx="241">
                  <c:v>0.71152774335305036</c:v>
                </c:pt>
                <c:pt idx="242">
                  <c:v>0.71441808068560664</c:v>
                </c:pt>
                <c:pt idx="243">
                  <c:v>0.71734515013274924</c:v>
                </c:pt>
                <c:pt idx="244">
                  <c:v>0.720025031428845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227A-4123-86A8-89323E6F14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31664431"/>
        <c:axId val="711924943"/>
      </c:lineChart>
      <c:dateAx>
        <c:axId val="83166443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1924943"/>
        <c:crosses val="autoZero"/>
        <c:auto val="1"/>
        <c:lblOffset val="100"/>
        <c:baseTimeUnit val="days"/>
      </c:dateAx>
      <c:valAx>
        <c:axId val="7119249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316644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1500889513993311"/>
          <c:y val="3.3915582154437109E-2"/>
          <c:w val="6.6587512519335798E-2"/>
          <c:h val="0.8633775324515544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4 15-19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B$5:$B$249</c:f>
              <c:numCache>
                <c:formatCode>0.00%</c:formatCode>
                <c:ptCount val="245"/>
                <c:pt idx="0">
                  <c:v>2.1395362769073442E-5</c:v>
                </c:pt>
                <c:pt idx="1">
                  <c:v>2.5674435322888131E-5</c:v>
                </c:pt>
                <c:pt idx="2">
                  <c:v>2.7813971599795474E-5</c:v>
                </c:pt>
                <c:pt idx="3">
                  <c:v>2.7813971599795474E-5</c:v>
                </c:pt>
                <c:pt idx="4">
                  <c:v>2.9953507876702817E-5</c:v>
                </c:pt>
                <c:pt idx="5">
                  <c:v>3.6372116707424849E-5</c:v>
                </c:pt>
                <c:pt idx="6">
                  <c:v>5.5627943199590948E-5</c:v>
                </c:pt>
                <c:pt idx="7">
                  <c:v>8.7720987353201104E-5</c:v>
                </c:pt>
                <c:pt idx="8">
                  <c:v>1.2837217661444065E-4</c:v>
                </c:pt>
                <c:pt idx="9">
                  <c:v>1.7330243842949487E-4</c:v>
                </c:pt>
                <c:pt idx="10">
                  <c:v>1.8400011981403161E-4</c:v>
                </c:pt>
                <c:pt idx="11">
                  <c:v>1.8827919236784628E-4</c:v>
                </c:pt>
                <c:pt idx="12">
                  <c:v>2.3534899045980786E-4</c:v>
                </c:pt>
                <c:pt idx="13">
                  <c:v>3.3376765919754568E-4</c:v>
                </c:pt>
                <c:pt idx="14">
                  <c:v>4.1507003772002477E-4</c:v>
                </c:pt>
                <c:pt idx="15">
                  <c:v>5.8409340359570497E-4</c:v>
                </c:pt>
                <c:pt idx="16">
                  <c:v>6.9962836254870155E-4</c:v>
                </c:pt>
                <c:pt idx="17">
                  <c:v>7.1032604393323829E-4</c:v>
                </c:pt>
                <c:pt idx="18">
                  <c:v>7.253027978715897E-4</c:v>
                </c:pt>
                <c:pt idx="19">
                  <c:v>7.8093074107118065E-4</c:v>
                </c:pt>
                <c:pt idx="20">
                  <c:v>8.1516332150169814E-4</c:v>
                </c:pt>
                <c:pt idx="21">
                  <c:v>8.6009358331675236E-4</c:v>
                </c:pt>
                <c:pt idx="22">
                  <c:v>9.2214013534706537E-4</c:v>
                </c:pt>
                <c:pt idx="23">
                  <c:v>9.649308608852122E-4</c:v>
                </c:pt>
                <c:pt idx="24">
                  <c:v>9.6920993343902688E-4</c:v>
                </c:pt>
                <c:pt idx="25">
                  <c:v>9.7134946971593427E-4</c:v>
                </c:pt>
                <c:pt idx="26">
                  <c:v>1.001302977592637E-3</c:v>
                </c:pt>
                <c:pt idx="27">
                  <c:v>1.0719076747305793E-3</c:v>
                </c:pt>
                <c:pt idx="28">
                  <c:v>1.1189774728225411E-3</c:v>
                </c:pt>
                <c:pt idx="29">
                  <c:v>1.161768198360688E-3</c:v>
                </c:pt>
                <c:pt idx="30">
                  <c:v>1.1831635611297612E-3</c:v>
                </c:pt>
                <c:pt idx="31">
                  <c:v>1.1831635611297612E-3</c:v>
                </c:pt>
                <c:pt idx="32">
                  <c:v>1.1853030974066686E-3</c:v>
                </c:pt>
                <c:pt idx="33">
                  <c:v>1.1960007787912054E-3</c:v>
                </c:pt>
                <c:pt idx="34">
                  <c:v>1.2109775327295569E-3</c:v>
                </c:pt>
                <c:pt idx="35">
                  <c:v>1.230233359221723E-3</c:v>
                </c:pt>
                <c:pt idx="36">
                  <c:v>1.249489185713889E-3</c:v>
                </c:pt>
                <c:pt idx="37">
                  <c:v>1.2708845484829625E-3</c:v>
                </c:pt>
                <c:pt idx="38">
                  <c:v>1.2708845484829625E-3</c:v>
                </c:pt>
                <c:pt idx="39">
                  <c:v>1.2730240847598697E-3</c:v>
                </c:pt>
                <c:pt idx="40">
                  <c:v>1.2858613024213138E-3</c:v>
                </c:pt>
                <c:pt idx="41">
                  <c:v>1.317954346574924E-3</c:v>
                </c:pt>
                <c:pt idx="42">
                  <c:v>1.3329311005132753E-3</c:v>
                </c:pt>
                <c:pt idx="43">
                  <c:v>1.3735822897745149E-3</c:v>
                </c:pt>
                <c:pt idx="44">
                  <c:v>1.4099544064819398E-3</c:v>
                </c:pt>
                <c:pt idx="45">
                  <c:v>1.4249311604202911E-3</c:v>
                </c:pt>
                <c:pt idx="46">
                  <c:v>1.4249311604202911E-3</c:v>
                </c:pt>
                <c:pt idx="47">
                  <c:v>1.4399079143586427E-3</c:v>
                </c:pt>
                <c:pt idx="48">
                  <c:v>1.4784195673429748E-3</c:v>
                </c:pt>
                <c:pt idx="49">
                  <c:v>1.5019544663889557E-3</c:v>
                </c:pt>
                <c:pt idx="50">
                  <c:v>1.5468847282040098E-3</c:v>
                </c:pt>
                <c:pt idx="51">
                  <c:v>1.6067917439574154E-3</c:v>
                </c:pt>
                <c:pt idx="52">
                  <c:v>1.6174894253419521E-3</c:v>
                </c:pt>
                <c:pt idx="53">
                  <c:v>1.6196289616188595E-3</c:v>
                </c:pt>
                <c:pt idx="54">
                  <c:v>1.6517220057724697E-3</c:v>
                </c:pt>
                <c:pt idx="55">
                  <c:v>1.6752569048184504E-3</c:v>
                </c:pt>
                <c:pt idx="56">
                  <c:v>1.7458616019563927E-3</c:v>
                </c:pt>
                <c:pt idx="57">
                  <c:v>1.8100476902636132E-3</c:v>
                </c:pt>
                <c:pt idx="58">
                  <c:v>1.98976873752383E-3</c:v>
                </c:pt>
                <c:pt idx="59">
                  <c:v>2.0903269425384752E-3</c:v>
                </c:pt>
                <c:pt idx="60">
                  <c:v>2.0988850876461048E-3</c:v>
                </c:pt>
                <c:pt idx="61">
                  <c:v>2.1523734945687882E-3</c:v>
                </c:pt>
                <c:pt idx="62">
                  <c:v>2.1951642201069352E-3</c:v>
                </c:pt>
                <c:pt idx="63">
                  <c:v>2.2465130907527112E-3</c:v>
                </c:pt>
                <c:pt idx="64">
                  <c:v>2.2978619613984877E-3</c:v>
                </c:pt>
                <c:pt idx="65">
                  <c:v>2.374885267367152E-3</c:v>
                </c:pt>
                <c:pt idx="66">
                  <c:v>2.417675992905299E-3</c:v>
                </c:pt>
                <c:pt idx="67">
                  <c:v>2.4540481096127238E-3</c:v>
                </c:pt>
                <c:pt idx="68">
                  <c:v>2.5053969802584998E-3</c:v>
                </c:pt>
                <c:pt idx="69">
                  <c:v>2.7279087530568636E-3</c:v>
                </c:pt>
                <c:pt idx="70">
                  <c:v>2.8520018571174897E-3</c:v>
                </c:pt>
                <c:pt idx="71">
                  <c:v>2.9546995984090422E-3</c:v>
                </c:pt>
                <c:pt idx="72">
                  <c:v>3.0894903838542048E-3</c:v>
                </c:pt>
                <c:pt idx="73">
                  <c:v>3.1451183270537961E-3</c:v>
                </c:pt>
                <c:pt idx="74">
                  <c:v>3.1836299800381282E-3</c:v>
                </c:pt>
                <c:pt idx="75">
                  <c:v>3.4553510872053607E-3</c:v>
                </c:pt>
                <c:pt idx="76">
                  <c:v>3.575165118712172E-3</c:v>
                </c:pt>
                <c:pt idx="77">
                  <c:v>3.7591652385262036E-3</c:v>
                </c:pt>
                <c:pt idx="78">
                  <c:v>3.8597234435408488E-3</c:v>
                </c:pt>
                <c:pt idx="79">
                  <c:v>4.1827934213538578E-3</c:v>
                </c:pt>
                <c:pt idx="80">
                  <c:v>4.3175842067990208E-3</c:v>
                </c:pt>
                <c:pt idx="81">
                  <c:v>4.3646540048909825E-3</c:v>
                </c:pt>
                <c:pt idx="82">
                  <c:v>4.4352587020289247E-3</c:v>
                </c:pt>
                <c:pt idx="83">
                  <c:v>4.5379564433204768E-3</c:v>
                </c:pt>
                <c:pt idx="84">
                  <c:v>4.636375112058215E-3</c:v>
                </c:pt>
                <c:pt idx="85">
                  <c:v>4.7904217239955436E-3</c:v>
                </c:pt>
                <c:pt idx="86">
                  <c:v>5.0428870046706105E-3</c:v>
                </c:pt>
                <c:pt idx="87">
                  <c:v>5.0771195851011279E-3</c:v>
                </c:pt>
                <c:pt idx="88">
                  <c:v>5.0985149478702009E-3</c:v>
                </c:pt>
                <c:pt idx="89">
                  <c:v>5.1691196450081439E-3</c:v>
                </c:pt>
                <c:pt idx="90">
                  <c:v>5.2568406323613443E-3</c:v>
                </c:pt>
                <c:pt idx="91">
                  <c:v>5.3659569824836195E-3</c:v>
                </c:pt>
                <c:pt idx="92">
                  <c:v>5.4686547237751716E-3</c:v>
                </c:pt>
                <c:pt idx="93">
                  <c:v>5.5071663767595038E-3</c:v>
                </c:pt>
                <c:pt idx="94">
                  <c:v>5.5242826669747629E-3</c:v>
                </c:pt>
                <c:pt idx="95">
                  <c:v>5.5413989571900212E-3</c:v>
                </c:pt>
                <c:pt idx="96">
                  <c:v>5.5606547836821877E-3</c:v>
                </c:pt>
                <c:pt idx="97">
                  <c:v>5.6141431906048707E-3</c:v>
                </c:pt>
                <c:pt idx="98">
                  <c:v>5.7125618593426089E-3</c:v>
                </c:pt>
                <c:pt idx="99">
                  <c:v>5.8516317173415867E-3</c:v>
                </c:pt>
                <c:pt idx="100">
                  <c:v>6.0463295185401549E-3</c:v>
                </c:pt>
                <c:pt idx="101">
                  <c:v>6.1040969980166527E-3</c:v>
                </c:pt>
                <c:pt idx="102">
                  <c:v>6.1704226226007809E-3</c:v>
                </c:pt>
                <c:pt idx="103">
                  <c:v>6.3330273796457391E-3</c:v>
                </c:pt>
                <c:pt idx="104">
                  <c:v>6.4635390925370864E-3</c:v>
                </c:pt>
                <c:pt idx="105">
                  <c:v>6.596190341705342E-3</c:v>
                </c:pt>
                <c:pt idx="106">
                  <c:v>6.8165625782267989E-3</c:v>
                </c:pt>
                <c:pt idx="107">
                  <c:v>7.0305162059175327E-3</c:v>
                </c:pt>
                <c:pt idx="108">
                  <c:v>7.1053999756092896E-3</c:v>
                </c:pt>
                <c:pt idx="109">
                  <c:v>7.1524697737012513E-3</c:v>
                </c:pt>
                <c:pt idx="110">
                  <c:v>7.4070745906532256E-3</c:v>
                </c:pt>
                <c:pt idx="111">
                  <c:v>7.5397258398214812E-3</c:v>
                </c:pt>
                <c:pt idx="112">
                  <c:v>7.7921911204965472E-3</c:v>
                </c:pt>
                <c:pt idx="113">
                  <c:v>8.1174006345864635E-3</c:v>
                </c:pt>
                <c:pt idx="114">
                  <c:v>8.481121801660713E-3</c:v>
                </c:pt>
                <c:pt idx="115">
                  <c:v>8.6629823851978368E-3</c:v>
                </c:pt>
                <c:pt idx="116">
                  <c:v>8.7592615176586668E-3</c:v>
                </c:pt>
                <c:pt idx="117">
                  <c:v>9.0053081895030123E-3</c:v>
                </c:pt>
                <c:pt idx="118">
                  <c:v>9.2192618171937461E-3</c:v>
                </c:pt>
                <c:pt idx="119">
                  <c:v>9.4802852429764425E-3</c:v>
                </c:pt>
                <c:pt idx="120">
                  <c:v>9.7220528422669716E-3</c:v>
                </c:pt>
                <c:pt idx="121">
                  <c:v>1.0083634473064313E-2</c:v>
                </c:pt>
                <c:pt idx="122">
                  <c:v>1.017563453297133E-2</c:v>
                </c:pt>
                <c:pt idx="123">
                  <c:v>1.0293309028201234E-2</c:v>
                </c:pt>
                <c:pt idx="124">
                  <c:v>1.0586425498137538E-2</c:v>
                </c:pt>
                <c:pt idx="125">
                  <c:v>1.0894518722012197E-2</c:v>
                </c:pt>
                <c:pt idx="126">
                  <c:v>1.1320286441116758E-2</c:v>
                </c:pt>
                <c:pt idx="127">
                  <c:v>1.1666891317975749E-2</c:v>
                </c:pt>
                <c:pt idx="128">
                  <c:v>1.2191077705818048E-2</c:v>
                </c:pt>
                <c:pt idx="129">
                  <c:v>1.2379356898185893E-2</c:v>
                </c:pt>
                <c:pt idx="130">
                  <c:v>1.249489185713889E-2</c:v>
                </c:pt>
                <c:pt idx="131">
                  <c:v>1.2835078125167158E-2</c:v>
                </c:pt>
                <c:pt idx="132">
                  <c:v>1.3215915582456664E-2</c:v>
                </c:pt>
                <c:pt idx="133">
                  <c:v>1.3513311124946786E-2</c:v>
                </c:pt>
                <c:pt idx="134">
                  <c:v>1.3996846323527845E-2</c:v>
                </c:pt>
                <c:pt idx="135">
                  <c:v>1.4405497752417147E-2</c:v>
                </c:pt>
                <c:pt idx="136">
                  <c:v>1.4606614162446439E-2</c:v>
                </c:pt>
                <c:pt idx="137">
                  <c:v>1.4749963092999231E-2</c:v>
                </c:pt>
                <c:pt idx="138">
                  <c:v>1.5122242405181108E-2</c:v>
                </c:pt>
                <c:pt idx="139">
                  <c:v>1.5449591455547933E-2</c:v>
                </c:pt>
                <c:pt idx="140">
                  <c:v>1.5768382360807128E-2</c:v>
                </c:pt>
                <c:pt idx="141">
                  <c:v>1.6213405906403855E-2</c:v>
                </c:pt>
                <c:pt idx="142">
                  <c:v>1.6617778262739344E-2</c:v>
                </c:pt>
                <c:pt idx="143">
                  <c:v>1.6784662092338115E-2</c:v>
                </c:pt>
                <c:pt idx="144">
                  <c:v>1.6917313341506372E-2</c:v>
                </c:pt>
                <c:pt idx="145">
                  <c:v>1.707777856227442E-2</c:v>
                </c:pt>
                <c:pt idx="146">
                  <c:v>1.7381592713595264E-2</c:v>
                </c:pt>
                <c:pt idx="147">
                  <c:v>1.7760290634607864E-2</c:v>
                </c:pt>
                <c:pt idx="148">
                  <c:v>1.8128290874235928E-2</c:v>
                </c:pt>
                <c:pt idx="149">
                  <c:v>1.8966989094783605E-2</c:v>
                </c:pt>
                <c:pt idx="150">
                  <c:v>1.9187361331305063E-2</c:v>
                </c:pt>
                <c:pt idx="151">
                  <c:v>1.9294338145150431E-2</c:v>
                </c:pt>
                <c:pt idx="152">
                  <c:v>1.9613129050409624E-2</c:v>
                </c:pt>
                <c:pt idx="153">
                  <c:v>2.0021780479298926E-2</c:v>
                </c:pt>
                <c:pt idx="154">
                  <c:v>2.0648664608432777E-2</c:v>
                </c:pt>
                <c:pt idx="155">
                  <c:v>2.1275548737566631E-2</c:v>
                </c:pt>
                <c:pt idx="156">
                  <c:v>2.3335922172228404E-2</c:v>
                </c:pt>
                <c:pt idx="157">
                  <c:v>2.4662434663910958E-2</c:v>
                </c:pt>
                <c:pt idx="158">
                  <c:v>2.6746342997618709E-2</c:v>
                </c:pt>
                <c:pt idx="159">
                  <c:v>3.0445601220391506E-2</c:v>
                </c:pt>
                <c:pt idx="160">
                  <c:v>3.6699465757791677E-2</c:v>
                </c:pt>
                <c:pt idx="161">
                  <c:v>4.2108213465813442E-2</c:v>
                </c:pt>
                <c:pt idx="162">
                  <c:v>4.488533155323917E-2</c:v>
                </c:pt>
                <c:pt idx="163">
                  <c:v>4.7662449640664906E-2</c:v>
                </c:pt>
                <c:pt idx="164">
                  <c:v>5.0439567728090641E-2</c:v>
                </c:pt>
                <c:pt idx="165">
                  <c:v>5.3216685815516369E-2</c:v>
                </c:pt>
                <c:pt idx="166">
                  <c:v>5.5993803902942105E-2</c:v>
                </c:pt>
                <c:pt idx="167">
                  <c:v>5.877092199036784E-2</c:v>
                </c:pt>
                <c:pt idx="168">
                  <c:v>6.1548040077793569E-2</c:v>
                </c:pt>
                <c:pt idx="169">
                  <c:v>6.4325158165219304E-2</c:v>
                </c:pt>
                <c:pt idx="170">
                  <c:v>6.7102276252645032E-2</c:v>
                </c:pt>
                <c:pt idx="171">
                  <c:v>6.9879394340070775E-2</c:v>
                </c:pt>
                <c:pt idx="172">
                  <c:v>7.2656512427496503E-2</c:v>
                </c:pt>
                <c:pt idx="173">
                  <c:v>7.5433630514922231E-2</c:v>
                </c:pt>
                <c:pt idx="174">
                  <c:v>7.821074860234796E-2</c:v>
                </c:pt>
                <c:pt idx="175">
                  <c:v>8.0987866689773702E-2</c:v>
                </c:pt>
                <c:pt idx="176">
                  <c:v>8.376498477719943E-2</c:v>
                </c:pt>
                <c:pt idx="177">
                  <c:v>8.6542102864625159E-2</c:v>
                </c:pt>
                <c:pt idx="178">
                  <c:v>8.9319220952050901E-2</c:v>
                </c:pt>
                <c:pt idx="179">
                  <c:v>9.209633903947663E-2</c:v>
                </c:pt>
                <c:pt idx="180">
                  <c:v>9.4873457126902358E-2</c:v>
                </c:pt>
                <c:pt idx="181">
                  <c:v>9.76505752143281E-2</c:v>
                </c:pt>
                <c:pt idx="182">
                  <c:v>0.10042769330175383</c:v>
                </c:pt>
                <c:pt idx="183">
                  <c:v>0.10459337043289242</c:v>
                </c:pt>
                <c:pt idx="184">
                  <c:v>0.10875904756403103</c:v>
                </c:pt>
                <c:pt idx="185">
                  <c:v>0.11292472469516962</c:v>
                </c:pt>
                <c:pt idx="186">
                  <c:v>0.11709040182630823</c:v>
                </c:pt>
                <c:pt idx="187">
                  <c:v>0.12125607895744682</c:v>
                </c:pt>
                <c:pt idx="188">
                  <c:v>0.12542175608858541</c:v>
                </c:pt>
                <c:pt idx="189">
                  <c:v>0.12958743321972402</c:v>
                </c:pt>
                <c:pt idx="190">
                  <c:v>0.13375311035086263</c:v>
                </c:pt>
                <c:pt idx="191">
                  <c:v>0.13791878748200123</c:v>
                </c:pt>
                <c:pt idx="192">
                  <c:v>0.14208446461313981</c:v>
                </c:pt>
                <c:pt idx="193">
                  <c:v>0.14625014174427842</c:v>
                </c:pt>
                <c:pt idx="194">
                  <c:v>0.15041581887541702</c:v>
                </c:pt>
                <c:pt idx="195">
                  <c:v>0.15458149600655563</c:v>
                </c:pt>
                <c:pt idx="196">
                  <c:v>0.15874717313769421</c:v>
                </c:pt>
                <c:pt idx="197">
                  <c:v>0.16291285026883282</c:v>
                </c:pt>
                <c:pt idx="198">
                  <c:v>0.16707852739997142</c:v>
                </c:pt>
                <c:pt idx="199">
                  <c:v>0.17124420453111</c:v>
                </c:pt>
                <c:pt idx="200">
                  <c:v>0.17540988166224861</c:v>
                </c:pt>
                <c:pt idx="201">
                  <c:v>0.17957555879338721</c:v>
                </c:pt>
                <c:pt idx="202">
                  <c:v>0.18374123592452582</c:v>
                </c:pt>
                <c:pt idx="203">
                  <c:v>0.1879069130556644</c:v>
                </c:pt>
                <c:pt idx="204">
                  <c:v>0.192072590186803</c:v>
                </c:pt>
                <c:pt idx="205">
                  <c:v>0.19623826731794161</c:v>
                </c:pt>
                <c:pt idx="206">
                  <c:v>0.20040394444908022</c:v>
                </c:pt>
                <c:pt idx="207">
                  <c:v>0.2045696215802188</c:v>
                </c:pt>
                <c:pt idx="208">
                  <c:v>0.2087352987113574</c:v>
                </c:pt>
                <c:pt idx="209">
                  <c:v>0.21290097584249601</c:v>
                </c:pt>
                <c:pt idx="210">
                  <c:v>0.21706665297363462</c:v>
                </c:pt>
                <c:pt idx="211">
                  <c:v>0.22123233010477319</c:v>
                </c:pt>
                <c:pt idx="212">
                  <c:v>0.2253980072359118</c:v>
                </c:pt>
                <c:pt idx="213">
                  <c:v>0.22956368436705041</c:v>
                </c:pt>
                <c:pt idx="214">
                  <c:v>0.24553532267416373</c:v>
                </c:pt>
                <c:pt idx="215">
                  <c:v>0.26150696098127707</c:v>
                </c:pt>
                <c:pt idx="216">
                  <c:v>0.27747859928839036</c:v>
                </c:pt>
                <c:pt idx="217">
                  <c:v>0.2934502375955037</c:v>
                </c:pt>
                <c:pt idx="218">
                  <c:v>0.30942187590261699</c:v>
                </c:pt>
                <c:pt idx="219">
                  <c:v>0.32539351420973034</c:v>
                </c:pt>
                <c:pt idx="220">
                  <c:v>0.34136515251684368</c:v>
                </c:pt>
                <c:pt idx="221">
                  <c:v>0.35733679082395697</c:v>
                </c:pt>
                <c:pt idx="222">
                  <c:v>0.37330842913107032</c:v>
                </c:pt>
                <c:pt idx="223">
                  <c:v>0.38928006743818366</c:v>
                </c:pt>
                <c:pt idx="224">
                  <c:v>0.40525170574529695</c:v>
                </c:pt>
                <c:pt idx="225">
                  <c:v>0.4212233440524103</c:v>
                </c:pt>
                <c:pt idx="226">
                  <c:v>0.43719498235952359</c:v>
                </c:pt>
                <c:pt idx="227">
                  <c:v>0.45316662066663693</c:v>
                </c:pt>
                <c:pt idx="228">
                  <c:v>0.46913825897375028</c:v>
                </c:pt>
                <c:pt idx="229">
                  <c:v>0.48510989728086357</c:v>
                </c:pt>
                <c:pt idx="230">
                  <c:v>0.50108153558797686</c:v>
                </c:pt>
                <c:pt idx="231">
                  <c:v>0.5170531738950902</c:v>
                </c:pt>
                <c:pt idx="232">
                  <c:v>0.53302481220220355</c:v>
                </c:pt>
                <c:pt idx="233">
                  <c:v>0.54899645050931689</c:v>
                </c:pt>
                <c:pt idx="234">
                  <c:v>0.56496808881643024</c:v>
                </c:pt>
                <c:pt idx="235">
                  <c:v>0.58093972712354358</c:v>
                </c:pt>
                <c:pt idx="236">
                  <c:v>0.59691136543065682</c:v>
                </c:pt>
                <c:pt idx="237">
                  <c:v>0.61288300373777016</c:v>
                </c:pt>
                <c:pt idx="238">
                  <c:v>0.62885464204488351</c:v>
                </c:pt>
                <c:pt idx="239">
                  <c:v>0.64482628035199685</c:v>
                </c:pt>
                <c:pt idx="240">
                  <c:v>0.66079791865911019</c:v>
                </c:pt>
                <c:pt idx="241">
                  <c:v>0.67676955696622343</c:v>
                </c:pt>
                <c:pt idx="242">
                  <c:v>0.69274119527333677</c:v>
                </c:pt>
                <c:pt idx="243">
                  <c:v>0.70871283358045012</c:v>
                </c:pt>
                <c:pt idx="244">
                  <c:v>0.724684471887563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267-42C6-AC42-927B0F02AEC7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5 20-24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C$5:$C$249</c:f>
              <c:numCache>
                <c:formatCode>0.00%</c:formatCode>
                <c:ptCount val="245"/>
                <c:pt idx="0">
                  <c:v>6.5861205541176322E-4</c:v>
                </c:pt>
                <c:pt idx="1">
                  <c:v>7.4294652592180608E-4</c:v>
                </c:pt>
                <c:pt idx="2">
                  <c:v>7.529863438396683E-4</c:v>
                </c:pt>
                <c:pt idx="3">
                  <c:v>8.1924914209755906E-4</c:v>
                </c:pt>
                <c:pt idx="4">
                  <c:v>8.7145619527044277E-4</c:v>
                </c:pt>
                <c:pt idx="5">
                  <c:v>1.0461490270412459E-3</c:v>
                </c:pt>
                <c:pt idx="6">
                  <c:v>1.2830887299027948E-3</c:v>
                </c:pt>
                <c:pt idx="7">
                  <c:v>1.5762514131043724E-3</c:v>
                </c:pt>
                <c:pt idx="8">
                  <c:v>2.0200113650738834E-3</c:v>
                </c:pt>
                <c:pt idx="9">
                  <c:v>2.5842491320577417E-3</c:v>
                </c:pt>
                <c:pt idx="10">
                  <c:v>2.6766154569020741E-3</c:v>
                </c:pt>
                <c:pt idx="11">
                  <c:v>2.7830375268314139E-3</c:v>
                </c:pt>
                <c:pt idx="12">
                  <c:v>3.4597212544953291E-3</c:v>
                </c:pt>
                <c:pt idx="13">
                  <c:v>4.2548748335900187E-3</c:v>
                </c:pt>
                <c:pt idx="14">
                  <c:v>4.949630233506086E-3</c:v>
                </c:pt>
                <c:pt idx="15">
                  <c:v>5.7106484316800446E-3</c:v>
                </c:pt>
                <c:pt idx="16">
                  <c:v>6.4033958680125395E-3</c:v>
                </c:pt>
                <c:pt idx="17">
                  <c:v>6.5238736830268863E-3</c:v>
                </c:pt>
                <c:pt idx="18">
                  <c:v>6.5921444448683491E-3</c:v>
                </c:pt>
                <c:pt idx="19">
                  <c:v>7.0098008702514187E-3</c:v>
                </c:pt>
                <c:pt idx="20">
                  <c:v>7.3451307887080174E-3</c:v>
                </c:pt>
                <c:pt idx="21">
                  <c:v>7.7105801609182031E-3</c:v>
                </c:pt>
                <c:pt idx="22">
                  <c:v>8.0157906256212164E-3</c:v>
                </c:pt>
                <c:pt idx="23">
                  <c:v>8.3691922163299671E-3</c:v>
                </c:pt>
                <c:pt idx="24">
                  <c:v>8.4053355608342713E-3</c:v>
                </c:pt>
                <c:pt idx="25">
                  <c:v>8.4294311238371396E-3</c:v>
                </c:pt>
                <c:pt idx="26">
                  <c:v>8.7045221347865648E-3</c:v>
                </c:pt>
                <c:pt idx="27">
                  <c:v>9.0438679804103091E-3</c:v>
                </c:pt>
                <c:pt idx="28">
                  <c:v>9.2848236104390025E-3</c:v>
                </c:pt>
                <c:pt idx="29">
                  <c:v>9.47959607804553E-3</c:v>
                </c:pt>
                <c:pt idx="30">
                  <c:v>9.6161376017284573E-3</c:v>
                </c:pt>
                <c:pt idx="31">
                  <c:v>9.6181455653120296E-3</c:v>
                </c:pt>
                <c:pt idx="32">
                  <c:v>9.620153528895602E-3</c:v>
                </c:pt>
                <c:pt idx="33">
                  <c:v>9.7265755988249422E-3</c:v>
                </c:pt>
                <c:pt idx="34">
                  <c:v>9.8350056323378548E-3</c:v>
                </c:pt>
                <c:pt idx="35">
                  <c:v>9.9313878843493315E-3</c:v>
                </c:pt>
                <c:pt idx="36">
                  <c:v>1.0025762172777238E-2</c:v>
                </c:pt>
                <c:pt idx="37">
                  <c:v>1.014222406062444E-2</c:v>
                </c:pt>
                <c:pt idx="38">
                  <c:v>1.0144232024208012E-2</c:v>
                </c:pt>
                <c:pt idx="39">
                  <c:v>1.0158287769293018E-2</c:v>
                </c:pt>
                <c:pt idx="40">
                  <c:v>1.0242622239803061E-2</c:v>
                </c:pt>
                <c:pt idx="41">
                  <c:v>1.0339004491814539E-2</c:v>
                </c:pt>
                <c:pt idx="42">
                  <c:v>1.0483577869831754E-2</c:v>
                </c:pt>
                <c:pt idx="43">
                  <c:v>1.0670318483103992E-2</c:v>
                </c:pt>
                <c:pt idx="44">
                  <c:v>1.0843003351291224E-2</c:v>
                </c:pt>
                <c:pt idx="45">
                  <c:v>1.0919305967466977E-2</c:v>
                </c:pt>
                <c:pt idx="46">
                  <c:v>1.0945409494053418E-2</c:v>
                </c:pt>
                <c:pt idx="47">
                  <c:v>1.1148213815994236E-2</c:v>
                </c:pt>
                <c:pt idx="48">
                  <c:v>1.1347002210767908E-2</c:v>
                </c:pt>
                <c:pt idx="49">
                  <c:v>1.1620085258133761E-2</c:v>
                </c:pt>
                <c:pt idx="50">
                  <c:v>1.1877104596831035E-2</c:v>
                </c:pt>
                <c:pt idx="51">
                  <c:v>1.2220466369621923E-2</c:v>
                </c:pt>
                <c:pt idx="52">
                  <c:v>1.2272673422794807E-2</c:v>
                </c:pt>
                <c:pt idx="53">
                  <c:v>1.2278697313545524E-2</c:v>
                </c:pt>
                <c:pt idx="54">
                  <c:v>1.2525676834324935E-2</c:v>
                </c:pt>
                <c:pt idx="55">
                  <c:v>1.2850966934863673E-2</c:v>
                </c:pt>
                <c:pt idx="56">
                  <c:v>1.33007507775839E-2</c:v>
                </c:pt>
                <c:pt idx="57">
                  <c:v>1.3774630183306999E-2</c:v>
                </c:pt>
                <c:pt idx="58">
                  <c:v>1.424248569827938E-2</c:v>
                </c:pt>
                <c:pt idx="59">
                  <c:v>1.4302724605786552E-2</c:v>
                </c:pt>
                <c:pt idx="60">
                  <c:v>1.4354931658959437E-2</c:v>
                </c:pt>
                <c:pt idx="61">
                  <c:v>1.4770580120758933E-2</c:v>
                </c:pt>
                <c:pt idx="62">
                  <c:v>1.5356905487162089E-2</c:v>
                </c:pt>
                <c:pt idx="63">
                  <c:v>1.5937206962814525E-2</c:v>
                </c:pt>
                <c:pt idx="64">
                  <c:v>1.6380966914784037E-2</c:v>
                </c:pt>
                <c:pt idx="65">
                  <c:v>1.693315690026646E-2</c:v>
                </c:pt>
                <c:pt idx="66">
                  <c:v>1.718013642104587E-2</c:v>
                </c:pt>
                <c:pt idx="67">
                  <c:v>1.7477315031414593E-2</c:v>
                </c:pt>
                <c:pt idx="68">
                  <c:v>1.7993361672392714E-2</c:v>
                </c:pt>
                <c:pt idx="69">
                  <c:v>1.8555591475792999E-2</c:v>
                </c:pt>
                <c:pt idx="70">
                  <c:v>1.9437087488981306E-2</c:v>
                </c:pt>
                <c:pt idx="71">
                  <c:v>2.0461148916603254E-2</c:v>
                </c:pt>
                <c:pt idx="72">
                  <c:v>2.1412923655216593E-2</c:v>
                </c:pt>
                <c:pt idx="73">
                  <c:v>2.180447655401322E-2</c:v>
                </c:pt>
                <c:pt idx="74">
                  <c:v>2.2159886108305545E-2</c:v>
                </c:pt>
                <c:pt idx="75">
                  <c:v>2.2772315001295142E-2</c:v>
                </c:pt>
                <c:pt idx="76">
                  <c:v>2.3553412835304825E-2</c:v>
                </c:pt>
                <c:pt idx="77">
                  <c:v>2.4306399179144494E-2</c:v>
                </c:pt>
                <c:pt idx="78">
                  <c:v>2.4989106797559127E-2</c:v>
                </c:pt>
                <c:pt idx="79">
                  <c:v>2.5715989614812352E-2</c:v>
                </c:pt>
                <c:pt idx="80">
                  <c:v>2.6077423059855394E-2</c:v>
                </c:pt>
                <c:pt idx="81">
                  <c:v>2.6240068110124762E-2</c:v>
                </c:pt>
                <c:pt idx="82">
                  <c:v>2.6693867880012136E-2</c:v>
                </c:pt>
                <c:pt idx="83">
                  <c:v>2.725609768341242E-2</c:v>
                </c:pt>
                <c:pt idx="84">
                  <c:v>2.7880574357903452E-2</c:v>
                </c:pt>
                <c:pt idx="85">
                  <c:v>2.8470915651473753E-2</c:v>
                </c:pt>
                <c:pt idx="86">
                  <c:v>2.919980643231055E-2</c:v>
                </c:pt>
                <c:pt idx="87">
                  <c:v>2.9366467409747063E-2</c:v>
                </c:pt>
                <c:pt idx="88">
                  <c:v>2.951104078776428E-2</c:v>
                </c:pt>
                <c:pt idx="89">
                  <c:v>2.9876490159974466E-2</c:v>
                </c:pt>
                <c:pt idx="90">
                  <c:v>3.0376473092284004E-2</c:v>
                </c:pt>
                <c:pt idx="91">
                  <c:v>3.0894527696845697E-2</c:v>
                </c:pt>
                <c:pt idx="92">
                  <c:v>3.146880528174742E-2</c:v>
                </c:pt>
                <c:pt idx="93">
                  <c:v>3.1649522004268939E-2</c:v>
                </c:pt>
                <c:pt idx="94">
                  <c:v>3.1765983892116142E-2</c:v>
                </c:pt>
                <c:pt idx="95">
                  <c:v>3.1820198908872596E-2</c:v>
                </c:pt>
                <c:pt idx="96">
                  <c:v>3.1868390034878333E-2</c:v>
                </c:pt>
                <c:pt idx="97">
                  <c:v>3.2103321774156313E-2</c:v>
                </c:pt>
                <c:pt idx="98">
                  <c:v>3.2492866709369364E-2</c:v>
                </c:pt>
                <c:pt idx="99">
                  <c:v>3.3261916761877612E-2</c:v>
                </c:pt>
                <c:pt idx="100">
                  <c:v>3.4137388884315202E-2</c:v>
                </c:pt>
                <c:pt idx="101">
                  <c:v>3.4408463968097484E-2</c:v>
                </c:pt>
                <c:pt idx="102">
                  <c:v>3.46112682900383E-2</c:v>
                </c:pt>
                <c:pt idx="103">
                  <c:v>3.5225705146611469E-2</c:v>
                </c:pt>
                <c:pt idx="104">
                  <c:v>3.5814038476598198E-2</c:v>
                </c:pt>
                <c:pt idx="105">
                  <c:v>3.6366228462080617E-2</c:v>
                </c:pt>
                <c:pt idx="106">
                  <c:v>3.7285875783356799E-2</c:v>
                </c:pt>
                <c:pt idx="107">
                  <c:v>3.8243674412720863E-2</c:v>
                </c:pt>
                <c:pt idx="108">
                  <c:v>3.8687434364690368E-2</c:v>
                </c:pt>
                <c:pt idx="109">
                  <c:v>3.9078987263486999E-2</c:v>
                </c:pt>
                <c:pt idx="110">
                  <c:v>4.0088992946023944E-2</c:v>
                </c:pt>
                <c:pt idx="111">
                  <c:v>4.0936353578291514E-2</c:v>
                </c:pt>
                <c:pt idx="112">
                  <c:v>4.1765642538306932E-2</c:v>
                </c:pt>
                <c:pt idx="113">
                  <c:v>4.2749544694257437E-2</c:v>
                </c:pt>
                <c:pt idx="114">
                  <c:v>4.4072792695831677E-2</c:v>
                </c:pt>
                <c:pt idx="115">
                  <c:v>4.4580807482475511E-2</c:v>
                </c:pt>
                <c:pt idx="116">
                  <c:v>4.4835818857589207E-2</c:v>
                </c:pt>
                <c:pt idx="117">
                  <c:v>4.5636996327434613E-2</c:v>
                </c:pt>
                <c:pt idx="118">
                  <c:v>4.6313680055098533E-2</c:v>
                </c:pt>
                <c:pt idx="119">
                  <c:v>4.7082730107606781E-2</c:v>
                </c:pt>
                <c:pt idx="120">
                  <c:v>4.7881899613868614E-2</c:v>
                </c:pt>
                <c:pt idx="121">
                  <c:v>4.9094709618346374E-2</c:v>
                </c:pt>
                <c:pt idx="122">
                  <c:v>4.9403936010216531E-2</c:v>
                </c:pt>
                <c:pt idx="123">
                  <c:v>4.9739265928673129E-2</c:v>
                </c:pt>
                <c:pt idx="124">
                  <c:v>5.0558515070770686E-2</c:v>
                </c:pt>
                <c:pt idx="125">
                  <c:v>5.1363708467783244E-2</c:v>
                </c:pt>
                <c:pt idx="126">
                  <c:v>5.2335562842232307E-2</c:v>
                </c:pt>
                <c:pt idx="127">
                  <c:v>5.3441950776780725E-2</c:v>
                </c:pt>
                <c:pt idx="128">
                  <c:v>5.4877644739035024E-2</c:v>
                </c:pt>
                <c:pt idx="129">
                  <c:v>5.5371603780593845E-2</c:v>
                </c:pt>
                <c:pt idx="130">
                  <c:v>5.5771188533724765E-2</c:v>
                </c:pt>
                <c:pt idx="131">
                  <c:v>5.6666740291998079E-2</c:v>
                </c:pt>
                <c:pt idx="132">
                  <c:v>5.7753048590710773E-2</c:v>
                </c:pt>
                <c:pt idx="133">
                  <c:v>5.894577895935281E-2</c:v>
                </c:pt>
                <c:pt idx="134">
                  <c:v>6.0156581000246991E-2</c:v>
                </c:pt>
                <c:pt idx="135">
                  <c:v>6.1345295441721882E-2</c:v>
                </c:pt>
                <c:pt idx="136">
                  <c:v>6.2136433093649426E-2</c:v>
                </c:pt>
                <c:pt idx="137">
                  <c:v>6.2546057664698201E-2</c:v>
                </c:pt>
                <c:pt idx="138">
                  <c:v>6.3423537750719364E-2</c:v>
                </c:pt>
                <c:pt idx="139">
                  <c:v>6.4487758450012769E-2</c:v>
                </c:pt>
                <c:pt idx="140">
                  <c:v>6.5612218056813332E-2</c:v>
                </c:pt>
                <c:pt idx="141">
                  <c:v>6.6937474021971158E-2</c:v>
                </c:pt>
                <c:pt idx="142">
                  <c:v>6.8276785732213977E-2</c:v>
                </c:pt>
                <c:pt idx="143">
                  <c:v>6.8714521793432765E-2</c:v>
                </c:pt>
                <c:pt idx="144">
                  <c:v>6.9043827821138645E-2</c:v>
                </c:pt>
                <c:pt idx="145">
                  <c:v>6.9951427360913393E-2</c:v>
                </c:pt>
                <c:pt idx="146">
                  <c:v>7.0855010973520996E-2</c:v>
                </c:pt>
                <c:pt idx="147">
                  <c:v>7.2272633263523151E-2</c:v>
                </c:pt>
                <c:pt idx="148">
                  <c:v>7.3591865337930246E-2</c:v>
                </c:pt>
                <c:pt idx="149">
                  <c:v>7.4979368174178815E-2</c:v>
                </c:pt>
                <c:pt idx="150">
                  <c:v>7.5537582050411958E-2</c:v>
                </c:pt>
                <c:pt idx="151">
                  <c:v>7.583676862436424E-2</c:v>
                </c:pt>
                <c:pt idx="152">
                  <c:v>7.6886933578572639E-2</c:v>
                </c:pt>
                <c:pt idx="153">
                  <c:v>7.8310579759325497E-2</c:v>
                </c:pt>
                <c:pt idx="154">
                  <c:v>7.9989237315192072E-2</c:v>
                </c:pt>
                <c:pt idx="155">
                  <c:v>8.1669902834642205E-2</c:v>
                </c:pt>
                <c:pt idx="156">
                  <c:v>8.508544889029894E-2</c:v>
                </c:pt>
                <c:pt idx="157">
                  <c:v>8.7816279363957472E-2</c:v>
                </c:pt>
                <c:pt idx="158">
                  <c:v>9.0900511428324754E-2</c:v>
                </c:pt>
                <c:pt idx="159">
                  <c:v>9.7410329366266632E-2</c:v>
                </c:pt>
                <c:pt idx="160">
                  <c:v>0.10646222920101124</c:v>
                </c:pt>
                <c:pt idx="161">
                  <c:v>0.11444790037287886</c:v>
                </c:pt>
                <c:pt idx="162">
                  <c:v>0.11881722913073252</c:v>
                </c:pt>
                <c:pt idx="163">
                  <c:v>0.12318655788858617</c:v>
                </c:pt>
                <c:pt idx="164">
                  <c:v>0.1275558866464398</c:v>
                </c:pt>
                <c:pt idx="165">
                  <c:v>0.13192521540429347</c:v>
                </c:pt>
                <c:pt idx="166">
                  <c:v>0.13629454416214712</c:v>
                </c:pt>
                <c:pt idx="167">
                  <c:v>0.14066387292000077</c:v>
                </c:pt>
                <c:pt idx="168">
                  <c:v>0.14503320167785441</c:v>
                </c:pt>
                <c:pt idx="169">
                  <c:v>0.14940253043570806</c:v>
                </c:pt>
                <c:pt idx="170">
                  <c:v>0.15377185919356171</c:v>
                </c:pt>
                <c:pt idx="171">
                  <c:v>0.15814118795141535</c:v>
                </c:pt>
                <c:pt idx="172">
                  <c:v>0.162510516709269</c:v>
                </c:pt>
                <c:pt idx="173">
                  <c:v>0.16687984546712264</c:v>
                </c:pt>
                <c:pt idx="174">
                  <c:v>0.17124917422497629</c:v>
                </c:pt>
                <c:pt idx="175">
                  <c:v>0.17561850298282994</c:v>
                </c:pt>
                <c:pt idx="176">
                  <c:v>0.17998783174068358</c:v>
                </c:pt>
                <c:pt idx="177">
                  <c:v>0.18435716049853723</c:v>
                </c:pt>
                <c:pt idx="178">
                  <c:v>0.18872648925639088</c:v>
                </c:pt>
                <c:pt idx="179">
                  <c:v>0.19309581801424455</c:v>
                </c:pt>
                <c:pt idx="180">
                  <c:v>0.1974651467720982</c:v>
                </c:pt>
                <c:pt idx="181">
                  <c:v>0.20183447552995185</c:v>
                </c:pt>
                <c:pt idx="182">
                  <c:v>0.20620380428780549</c:v>
                </c:pt>
                <c:pt idx="183">
                  <c:v>0.21275980538816952</c:v>
                </c:pt>
                <c:pt idx="184">
                  <c:v>0.21931580648853358</c:v>
                </c:pt>
                <c:pt idx="185">
                  <c:v>0.22587180758889763</c:v>
                </c:pt>
                <c:pt idx="186">
                  <c:v>0.23242780868926166</c:v>
                </c:pt>
                <c:pt idx="187">
                  <c:v>0.23898380978962572</c:v>
                </c:pt>
                <c:pt idx="188">
                  <c:v>0.24553981088998975</c:v>
                </c:pt>
                <c:pt idx="189">
                  <c:v>0.2520958119903538</c:v>
                </c:pt>
                <c:pt idx="190">
                  <c:v>0.25865181309071783</c:v>
                </c:pt>
                <c:pt idx="191">
                  <c:v>0.26520781419108191</c:v>
                </c:pt>
                <c:pt idx="192">
                  <c:v>0.27176381529144594</c:v>
                </c:pt>
                <c:pt idx="193">
                  <c:v>0.27831981639180997</c:v>
                </c:pt>
                <c:pt idx="194">
                  <c:v>0.28487581749217405</c:v>
                </c:pt>
                <c:pt idx="195">
                  <c:v>0.29143181859253808</c:v>
                </c:pt>
                <c:pt idx="196">
                  <c:v>0.29798781969290211</c:v>
                </c:pt>
                <c:pt idx="197">
                  <c:v>0.30454382079326614</c:v>
                </c:pt>
                <c:pt idx="198">
                  <c:v>0.31109982189363022</c:v>
                </c:pt>
                <c:pt idx="199">
                  <c:v>0.31765582299399425</c:v>
                </c:pt>
                <c:pt idx="200">
                  <c:v>0.32421182409435828</c:v>
                </c:pt>
                <c:pt idx="201">
                  <c:v>0.33076782519472236</c:v>
                </c:pt>
                <c:pt idx="202">
                  <c:v>0.33732382629508639</c:v>
                </c:pt>
                <c:pt idx="203">
                  <c:v>0.34387982739545042</c:v>
                </c:pt>
                <c:pt idx="204">
                  <c:v>0.35043582849581451</c:v>
                </c:pt>
                <c:pt idx="205">
                  <c:v>0.35699182959617853</c:v>
                </c:pt>
                <c:pt idx="206">
                  <c:v>0.36354783069654256</c:v>
                </c:pt>
                <c:pt idx="207">
                  <c:v>0.37010383179690659</c:v>
                </c:pt>
                <c:pt idx="208">
                  <c:v>0.37665983289727067</c:v>
                </c:pt>
                <c:pt idx="209">
                  <c:v>0.3832158339976347</c:v>
                </c:pt>
                <c:pt idx="210">
                  <c:v>0.38977183509799873</c:v>
                </c:pt>
                <c:pt idx="211">
                  <c:v>0.39632783619836282</c:v>
                </c:pt>
                <c:pt idx="212">
                  <c:v>0.40288383729872684</c:v>
                </c:pt>
                <c:pt idx="213">
                  <c:v>0.40943983839909087</c:v>
                </c:pt>
                <c:pt idx="214">
                  <c:v>0.43456950264750011</c:v>
                </c:pt>
                <c:pt idx="215">
                  <c:v>0.45969916689590928</c:v>
                </c:pt>
                <c:pt idx="216">
                  <c:v>0.48482883114431846</c:v>
                </c:pt>
                <c:pt idx="217">
                  <c:v>0.50995849539272764</c:v>
                </c:pt>
                <c:pt idx="218">
                  <c:v>0.53508815964113687</c:v>
                </c:pt>
                <c:pt idx="219">
                  <c:v>0.56021782388954611</c:v>
                </c:pt>
                <c:pt idx="220">
                  <c:v>0.58534748813795523</c:v>
                </c:pt>
                <c:pt idx="221">
                  <c:v>0.61047715238636446</c:v>
                </c:pt>
                <c:pt idx="222">
                  <c:v>0.6356068166347737</c:v>
                </c:pt>
                <c:pt idx="223">
                  <c:v>0.66073648088318282</c:v>
                </c:pt>
                <c:pt idx="224">
                  <c:v>0.68586614513159205</c:v>
                </c:pt>
                <c:pt idx="225">
                  <c:v>0.71099580938000129</c:v>
                </c:pt>
                <c:pt idx="226">
                  <c:v>0.73612547362841041</c:v>
                </c:pt>
                <c:pt idx="227">
                  <c:v>0.76125513787681964</c:v>
                </c:pt>
                <c:pt idx="228">
                  <c:v>0.78638480212522888</c:v>
                </c:pt>
                <c:pt idx="229">
                  <c:v>0.811514466373638</c:v>
                </c:pt>
                <c:pt idx="230">
                  <c:v>0.811514466373638</c:v>
                </c:pt>
                <c:pt idx="231">
                  <c:v>0.811514466373638</c:v>
                </c:pt>
                <c:pt idx="232">
                  <c:v>0.811514466373638</c:v>
                </c:pt>
                <c:pt idx="233">
                  <c:v>0.811514466373638</c:v>
                </c:pt>
                <c:pt idx="234">
                  <c:v>0.811514466373638</c:v>
                </c:pt>
                <c:pt idx="235">
                  <c:v>0.811514466373638</c:v>
                </c:pt>
                <c:pt idx="236">
                  <c:v>0.811514466373638</c:v>
                </c:pt>
                <c:pt idx="237">
                  <c:v>0.811514466373638</c:v>
                </c:pt>
                <c:pt idx="238">
                  <c:v>0.811514466373638</c:v>
                </c:pt>
                <c:pt idx="239">
                  <c:v>0.811514466373638</c:v>
                </c:pt>
                <c:pt idx="240">
                  <c:v>0.811514466373638</c:v>
                </c:pt>
                <c:pt idx="241">
                  <c:v>0.811514466373638</c:v>
                </c:pt>
                <c:pt idx="242">
                  <c:v>0.811514466373638</c:v>
                </c:pt>
                <c:pt idx="243">
                  <c:v>0.811514466373638</c:v>
                </c:pt>
                <c:pt idx="244">
                  <c:v>0.8115144663736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267-42C6-AC42-927B0F02AEC7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6 25-29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D$5:$D$249</c:f>
              <c:numCache>
                <c:formatCode>0.00%</c:formatCode>
                <c:ptCount val="245"/>
                <c:pt idx="0">
                  <c:v>1.3677600276242683E-3</c:v>
                </c:pt>
                <c:pt idx="1">
                  <c:v>1.5306953751773233E-3</c:v>
                </c:pt>
                <c:pt idx="2">
                  <c:v>1.5531176707121474E-3</c:v>
                </c:pt>
                <c:pt idx="3">
                  <c:v>1.7339908546930615E-3</c:v>
                </c:pt>
                <c:pt idx="4">
                  <c:v>1.8461023323671818E-3</c:v>
                </c:pt>
                <c:pt idx="5">
                  <c:v>2.2482088322916937E-3</c:v>
                </c:pt>
                <c:pt idx="6">
                  <c:v>2.7863439251274713E-3</c:v>
                </c:pt>
                <c:pt idx="7">
                  <c:v>3.4874143655163037E-3</c:v>
                </c:pt>
                <c:pt idx="8">
                  <c:v>4.4067284824440911E-3</c:v>
                </c:pt>
                <c:pt idx="9">
                  <c:v>5.4127421421065304E-3</c:v>
                </c:pt>
                <c:pt idx="10">
                  <c:v>5.5637189320410126E-3</c:v>
                </c:pt>
                <c:pt idx="11">
                  <c:v>5.7072216234638866E-3</c:v>
                </c:pt>
                <c:pt idx="12">
                  <c:v>6.7401420377681161E-3</c:v>
                </c:pt>
                <c:pt idx="13">
                  <c:v>7.7760520914769878E-3</c:v>
                </c:pt>
                <c:pt idx="14">
                  <c:v>8.7417056191767453E-3</c:v>
                </c:pt>
                <c:pt idx="15">
                  <c:v>9.71483324538811E-3</c:v>
                </c:pt>
                <c:pt idx="16">
                  <c:v>1.0611725066781073E-2</c:v>
                </c:pt>
                <c:pt idx="17">
                  <c:v>1.0717857265645905E-2</c:v>
                </c:pt>
                <c:pt idx="18">
                  <c:v>1.0800072349273594E-2</c:v>
                </c:pt>
                <c:pt idx="19">
                  <c:v>1.1315785146574548E-2</c:v>
                </c:pt>
                <c:pt idx="20">
                  <c:v>1.1705933088880486E-2</c:v>
                </c:pt>
                <c:pt idx="21">
                  <c:v>1.212747224493518E-2</c:v>
                </c:pt>
                <c:pt idx="22">
                  <c:v>1.2608804189082737E-2</c:v>
                </c:pt>
                <c:pt idx="23">
                  <c:v>1.3015395148114213E-2</c:v>
                </c:pt>
                <c:pt idx="24">
                  <c:v>1.3063229378588503E-2</c:v>
                </c:pt>
                <c:pt idx="25">
                  <c:v>1.3072198296802433E-2</c:v>
                </c:pt>
                <c:pt idx="26">
                  <c:v>1.3326317646197107E-2</c:v>
                </c:pt>
                <c:pt idx="27">
                  <c:v>1.3625281586661427E-2</c:v>
                </c:pt>
                <c:pt idx="28">
                  <c:v>1.3855483820818955E-2</c:v>
                </c:pt>
                <c:pt idx="29">
                  <c:v>1.4048315562418442E-2</c:v>
                </c:pt>
                <c:pt idx="30">
                  <c:v>1.4191818253841316E-2</c:v>
                </c:pt>
                <c:pt idx="31">
                  <c:v>1.4199292352352923E-2</c:v>
                </c:pt>
                <c:pt idx="32">
                  <c:v>1.4212745729673818E-2</c:v>
                </c:pt>
                <c:pt idx="33">
                  <c:v>1.4333826125561867E-2</c:v>
                </c:pt>
                <c:pt idx="34">
                  <c:v>1.4478823636687064E-2</c:v>
                </c:pt>
                <c:pt idx="35">
                  <c:v>1.4601398852277436E-2</c:v>
                </c:pt>
                <c:pt idx="36">
                  <c:v>1.472696370727245E-2</c:v>
                </c:pt>
                <c:pt idx="37">
                  <c:v>1.4849538922862822E-2</c:v>
                </c:pt>
                <c:pt idx="38">
                  <c:v>1.4852528562267465E-2</c:v>
                </c:pt>
                <c:pt idx="39">
                  <c:v>1.4858507841076752E-2</c:v>
                </c:pt>
                <c:pt idx="40">
                  <c:v>1.4966134859643907E-2</c:v>
                </c:pt>
                <c:pt idx="41">
                  <c:v>1.509917381315053E-2</c:v>
                </c:pt>
                <c:pt idx="42">
                  <c:v>1.5233707586359474E-2</c:v>
                </c:pt>
                <c:pt idx="43">
                  <c:v>1.5429528967363604E-2</c:v>
                </c:pt>
                <c:pt idx="44">
                  <c:v>1.5619371069558447E-2</c:v>
                </c:pt>
                <c:pt idx="45">
                  <c:v>1.5661226021223454E-2</c:v>
                </c:pt>
                <c:pt idx="46">
                  <c:v>1.5682153497055956E-2</c:v>
                </c:pt>
                <c:pt idx="47">
                  <c:v>1.591833501002277E-2</c:v>
                </c:pt>
                <c:pt idx="48">
                  <c:v>1.6188897376142979E-2</c:v>
                </c:pt>
                <c:pt idx="49">
                  <c:v>1.6532705907676949E-2</c:v>
                </c:pt>
                <c:pt idx="50">
                  <c:v>1.6807752732904125E-2</c:v>
                </c:pt>
                <c:pt idx="51">
                  <c:v>1.7181457658484525E-2</c:v>
                </c:pt>
                <c:pt idx="52">
                  <c:v>1.725171418449364E-2</c:v>
                </c:pt>
                <c:pt idx="53">
                  <c:v>1.7268157201219179E-2</c:v>
                </c:pt>
                <c:pt idx="54">
                  <c:v>1.7650831045013509E-2</c:v>
                </c:pt>
                <c:pt idx="55">
                  <c:v>1.8132162989161066E-2</c:v>
                </c:pt>
                <c:pt idx="56">
                  <c:v>1.8604526015094693E-2</c:v>
                </c:pt>
                <c:pt idx="57">
                  <c:v>1.9169567862572259E-2</c:v>
                </c:pt>
                <c:pt idx="58">
                  <c:v>1.9773475022310187E-2</c:v>
                </c:pt>
                <c:pt idx="59">
                  <c:v>1.9858679745342517E-2</c:v>
                </c:pt>
                <c:pt idx="60">
                  <c:v>1.9948368927481815E-2</c:v>
                </c:pt>
                <c:pt idx="61">
                  <c:v>2.0546296808410459E-2</c:v>
                </c:pt>
                <c:pt idx="62">
                  <c:v>2.1305665217189833E-2</c:v>
                </c:pt>
                <c:pt idx="63">
                  <c:v>2.217863992334565E-2</c:v>
                </c:pt>
                <c:pt idx="64">
                  <c:v>2.2867751806115909E-2</c:v>
                </c:pt>
                <c:pt idx="65">
                  <c:v>2.3535936213053665E-2</c:v>
                </c:pt>
                <c:pt idx="66">
                  <c:v>2.3830415694411022E-2</c:v>
                </c:pt>
                <c:pt idx="67">
                  <c:v>2.4144327831898561E-2</c:v>
                </c:pt>
                <c:pt idx="68">
                  <c:v>2.4803543320622387E-2</c:v>
                </c:pt>
                <c:pt idx="69">
                  <c:v>2.5618220058387663E-2</c:v>
                </c:pt>
                <c:pt idx="70">
                  <c:v>2.6494184403948122E-2</c:v>
                </c:pt>
                <c:pt idx="71">
                  <c:v>2.7491229145396631E-2</c:v>
                </c:pt>
                <c:pt idx="72">
                  <c:v>2.8386626147087275E-2</c:v>
                </c:pt>
                <c:pt idx="73">
                  <c:v>2.8660178152612129E-2</c:v>
                </c:pt>
                <c:pt idx="74">
                  <c:v>2.8867958091234831E-2</c:v>
                </c:pt>
                <c:pt idx="75">
                  <c:v>2.9515215022340086E-2</c:v>
                </c:pt>
                <c:pt idx="76">
                  <c:v>3.0418086122542334E-2</c:v>
                </c:pt>
                <c:pt idx="77">
                  <c:v>3.1184928629833318E-2</c:v>
                </c:pt>
                <c:pt idx="78">
                  <c:v>3.1942802218910368E-2</c:v>
                </c:pt>
                <c:pt idx="79">
                  <c:v>3.2744025579354755E-2</c:v>
                </c:pt>
                <c:pt idx="80">
                  <c:v>3.3072885913865507E-2</c:v>
                </c:pt>
                <c:pt idx="81">
                  <c:v>3.3279171032785888E-2</c:v>
                </c:pt>
                <c:pt idx="82">
                  <c:v>3.3726122123780046E-2</c:v>
                </c:pt>
                <c:pt idx="83">
                  <c:v>3.433301892292262E-2</c:v>
                </c:pt>
                <c:pt idx="84">
                  <c:v>3.4954863919088405E-2</c:v>
                </c:pt>
                <c:pt idx="85">
                  <c:v>3.5652944720072598E-2</c:v>
                </c:pt>
                <c:pt idx="86">
                  <c:v>3.6404839030340364E-2</c:v>
                </c:pt>
                <c:pt idx="87">
                  <c:v>3.6602155231046811E-2</c:v>
                </c:pt>
                <c:pt idx="88">
                  <c:v>3.6741173463362725E-2</c:v>
                </c:pt>
                <c:pt idx="89">
                  <c:v>3.7119362848050091E-2</c:v>
                </c:pt>
                <c:pt idx="90">
                  <c:v>3.7675435777313727E-2</c:v>
                </c:pt>
                <c:pt idx="91">
                  <c:v>3.8270374018837726E-2</c:v>
                </c:pt>
                <c:pt idx="92">
                  <c:v>3.8962475541012627E-2</c:v>
                </c:pt>
                <c:pt idx="93">
                  <c:v>3.918968813576551E-2</c:v>
                </c:pt>
                <c:pt idx="94">
                  <c:v>3.9322727089272133E-2</c:v>
                </c:pt>
                <c:pt idx="95">
                  <c:v>3.9382519877364998E-2</c:v>
                </c:pt>
                <c:pt idx="96">
                  <c:v>3.943932302605322E-2</c:v>
                </c:pt>
                <c:pt idx="97">
                  <c:v>3.9721843949792002E-2</c:v>
                </c:pt>
                <c:pt idx="98">
                  <c:v>4.0132919367930446E-2</c:v>
                </c:pt>
                <c:pt idx="99">
                  <c:v>4.0944606466291077E-2</c:v>
                </c:pt>
                <c:pt idx="100">
                  <c:v>4.2058247144520673E-2</c:v>
                </c:pt>
                <c:pt idx="101">
                  <c:v>4.2400560856352319E-2</c:v>
                </c:pt>
                <c:pt idx="102">
                  <c:v>4.2653185386044672E-2</c:v>
                </c:pt>
                <c:pt idx="103">
                  <c:v>4.3294463038340641E-2</c:v>
                </c:pt>
                <c:pt idx="104">
                  <c:v>4.3914813214804102E-2</c:v>
                </c:pt>
                <c:pt idx="105">
                  <c:v>4.4577018342932574E-2</c:v>
                </c:pt>
                <c:pt idx="106">
                  <c:v>4.561442321634377E-2</c:v>
                </c:pt>
                <c:pt idx="107">
                  <c:v>4.6753475829512829E-2</c:v>
                </c:pt>
                <c:pt idx="108">
                  <c:v>4.7275167905623069E-2</c:v>
                </c:pt>
                <c:pt idx="109">
                  <c:v>4.7816292637863494E-2</c:v>
                </c:pt>
                <c:pt idx="110">
                  <c:v>4.8888078364428086E-2</c:v>
                </c:pt>
                <c:pt idx="111">
                  <c:v>4.9850742252723193E-2</c:v>
                </c:pt>
                <c:pt idx="112">
                  <c:v>5.0776035648460269E-2</c:v>
                </c:pt>
                <c:pt idx="113">
                  <c:v>5.1936015737461837E-2</c:v>
                </c:pt>
                <c:pt idx="114">
                  <c:v>5.3513050523411126E-2</c:v>
                </c:pt>
                <c:pt idx="115">
                  <c:v>5.4116957683149058E-2</c:v>
                </c:pt>
                <c:pt idx="116">
                  <c:v>5.4469735132896956E-2</c:v>
                </c:pt>
                <c:pt idx="117">
                  <c:v>5.5401007807443316E-2</c:v>
                </c:pt>
                <c:pt idx="118">
                  <c:v>5.6158881396520366E-2</c:v>
                </c:pt>
                <c:pt idx="119">
                  <c:v>5.7048299119401721E-2</c:v>
                </c:pt>
                <c:pt idx="120">
                  <c:v>5.7930242743771468E-2</c:v>
                </c:pt>
                <c:pt idx="121">
                  <c:v>5.913207778443804E-2</c:v>
                </c:pt>
                <c:pt idx="122">
                  <c:v>5.94474847416279E-2</c:v>
                </c:pt>
                <c:pt idx="123">
                  <c:v>5.9747943501794541E-2</c:v>
                </c:pt>
                <c:pt idx="124">
                  <c:v>6.0620918207950361E-2</c:v>
                </c:pt>
                <c:pt idx="125">
                  <c:v>6.1604509572077977E-2</c:v>
                </c:pt>
                <c:pt idx="126">
                  <c:v>6.2715160610902931E-2</c:v>
                </c:pt>
                <c:pt idx="127">
                  <c:v>6.3994726276090222E-2</c:v>
                </c:pt>
                <c:pt idx="128">
                  <c:v>6.5570266242337194E-2</c:v>
                </c:pt>
                <c:pt idx="129">
                  <c:v>6.6230976550763335E-2</c:v>
                </c:pt>
                <c:pt idx="130">
                  <c:v>6.6751173807171257E-2</c:v>
                </c:pt>
                <c:pt idx="131">
                  <c:v>6.805166694819105E-2</c:v>
                </c:pt>
                <c:pt idx="132">
                  <c:v>6.9356644548317817E-2</c:v>
                </c:pt>
                <c:pt idx="133">
                  <c:v>7.0624251655886539E-2</c:v>
                </c:pt>
                <c:pt idx="134">
                  <c:v>7.2126545456719746E-2</c:v>
                </c:pt>
                <c:pt idx="135">
                  <c:v>7.3503274402557953E-2</c:v>
                </c:pt>
                <c:pt idx="136">
                  <c:v>7.4168469170091067E-2</c:v>
                </c:pt>
                <c:pt idx="137">
                  <c:v>7.4631863277810753E-2</c:v>
                </c:pt>
                <c:pt idx="138">
                  <c:v>7.5711123102886954E-2</c:v>
                </c:pt>
                <c:pt idx="139">
                  <c:v>7.6850175716056027E-2</c:v>
                </c:pt>
                <c:pt idx="140">
                  <c:v>7.7908508065299711E-2</c:v>
                </c:pt>
                <c:pt idx="141">
                  <c:v>7.9050550317873419E-2</c:v>
                </c:pt>
                <c:pt idx="142">
                  <c:v>8.0273312834372501E-2</c:v>
                </c:pt>
                <c:pt idx="143">
                  <c:v>8.0699336449534156E-2</c:v>
                </c:pt>
                <c:pt idx="144">
                  <c:v>8.1077525834221523E-2</c:v>
                </c:pt>
                <c:pt idx="145">
                  <c:v>8.195199536007966E-2</c:v>
                </c:pt>
                <c:pt idx="146">
                  <c:v>8.2830949345044758E-2</c:v>
                </c:pt>
                <c:pt idx="147">
                  <c:v>8.4061185960055448E-2</c:v>
                </c:pt>
                <c:pt idx="148">
                  <c:v>8.5158383621559502E-2</c:v>
                </c:pt>
                <c:pt idx="149">
                  <c:v>8.6442433745853753E-2</c:v>
                </c:pt>
                <c:pt idx="150">
                  <c:v>8.6943198346131498E-2</c:v>
                </c:pt>
                <c:pt idx="151">
                  <c:v>8.7207781433442419E-2</c:v>
                </c:pt>
                <c:pt idx="152">
                  <c:v>8.8306473914648798E-2</c:v>
                </c:pt>
                <c:pt idx="153">
                  <c:v>8.9804283256375045E-2</c:v>
                </c:pt>
                <c:pt idx="154">
                  <c:v>9.1264722105543261E-2</c:v>
                </c:pt>
                <c:pt idx="155">
                  <c:v>9.2846241350599518E-2</c:v>
                </c:pt>
                <c:pt idx="156">
                  <c:v>9.5755160491317354E-2</c:v>
                </c:pt>
                <c:pt idx="157">
                  <c:v>9.7940586896111542E-2</c:v>
                </c:pt>
                <c:pt idx="158">
                  <c:v>0.1001932801875102</c:v>
                </c:pt>
                <c:pt idx="159">
                  <c:v>0.10610080765108518</c:v>
                </c:pt>
                <c:pt idx="160">
                  <c:v>0.11364665750840465</c:v>
                </c:pt>
                <c:pt idx="161">
                  <c:v>0.12059158984539083</c:v>
                </c:pt>
                <c:pt idx="162">
                  <c:v>0.12428977378893447</c:v>
                </c:pt>
                <c:pt idx="163">
                  <c:v>0.12798795773247812</c:v>
                </c:pt>
                <c:pt idx="164">
                  <c:v>0.13168614167602177</c:v>
                </c:pt>
                <c:pt idx="165">
                  <c:v>0.13538432561956543</c:v>
                </c:pt>
                <c:pt idx="166">
                  <c:v>0.13908250956310908</c:v>
                </c:pt>
                <c:pt idx="167">
                  <c:v>0.14278069350665271</c:v>
                </c:pt>
                <c:pt idx="168">
                  <c:v>0.14647887745019636</c:v>
                </c:pt>
                <c:pt idx="169">
                  <c:v>0.15017706139374001</c:v>
                </c:pt>
                <c:pt idx="170">
                  <c:v>0.15387524533728367</c:v>
                </c:pt>
                <c:pt idx="171">
                  <c:v>0.15757342928082732</c:v>
                </c:pt>
                <c:pt idx="172">
                  <c:v>0.16127161322437097</c:v>
                </c:pt>
                <c:pt idx="173">
                  <c:v>0.16496979716791463</c:v>
                </c:pt>
                <c:pt idx="174">
                  <c:v>0.16866798111145828</c:v>
                </c:pt>
                <c:pt idx="175">
                  <c:v>0.17236616505500191</c:v>
                </c:pt>
                <c:pt idx="176">
                  <c:v>0.17606434899854556</c:v>
                </c:pt>
                <c:pt idx="177">
                  <c:v>0.17976253294208921</c:v>
                </c:pt>
                <c:pt idx="178">
                  <c:v>0.18346071688563287</c:v>
                </c:pt>
                <c:pt idx="179">
                  <c:v>0.18715890082917652</c:v>
                </c:pt>
                <c:pt idx="180">
                  <c:v>0.19085708477272018</c:v>
                </c:pt>
                <c:pt idx="181">
                  <c:v>0.19455526871626383</c:v>
                </c:pt>
                <c:pt idx="182">
                  <c:v>0.19825345265980748</c:v>
                </c:pt>
                <c:pt idx="183">
                  <c:v>0.20380222339482526</c:v>
                </c:pt>
                <c:pt idx="184">
                  <c:v>0.20935099412984307</c:v>
                </c:pt>
                <c:pt idx="185">
                  <c:v>0.21489976486486087</c:v>
                </c:pt>
                <c:pt idx="186">
                  <c:v>0.22044853559987865</c:v>
                </c:pt>
                <c:pt idx="187">
                  <c:v>0.22599730633489645</c:v>
                </c:pt>
                <c:pt idx="188">
                  <c:v>0.23154607706991426</c:v>
                </c:pt>
                <c:pt idx="189">
                  <c:v>0.23709484780493206</c:v>
                </c:pt>
                <c:pt idx="190">
                  <c:v>0.24264361853994984</c:v>
                </c:pt>
                <c:pt idx="191">
                  <c:v>0.24819238927496765</c:v>
                </c:pt>
                <c:pt idx="192">
                  <c:v>0.25374116000998542</c:v>
                </c:pt>
                <c:pt idx="193">
                  <c:v>0.25928993074500323</c:v>
                </c:pt>
                <c:pt idx="194">
                  <c:v>0.26483870148002103</c:v>
                </c:pt>
                <c:pt idx="195">
                  <c:v>0.27038747221503884</c:v>
                </c:pt>
                <c:pt idx="196">
                  <c:v>0.27593624295005664</c:v>
                </c:pt>
                <c:pt idx="197">
                  <c:v>0.28148501368507445</c:v>
                </c:pt>
                <c:pt idx="198">
                  <c:v>0.2870337844200922</c:v>
                </c:pt>
                <c:pt idx="199">
                  <c:v>0.29258255515511</c:v>
                </c:pt>
                <c:pt idx="200">
                  <c:v>0.29813132589012781</c:v>
                </c:pt>
                <c:pt idx="201">
                  <c:v>0.30368009662514561</c:v>
                </c:pt>
                <c:pt idx="202">
                  <c:v>0.30922886736016342</c:v>
                </c:pt>
                <c:pt idx="203">
                  <c:v>0.31477763809518122</c:v>
                </c:pt>
                <c:pt idx="204">
                  <c:v>0.32032640883019903</c:v>
                </c:pt>
                <c:pt idx="205">
                  <c:v>0.32587517956521678</c:v>
                </c:pt>
                <c:pt idx="206">
                  <c:v>0.33142395030023458</c:v>
                </c:pt>
                <c:pt idx="207">
                  <c:v>0.33697272103525239</c:v>
                </c:pt>
                <c:pt idx="208">
                  <c:v>0.34252149177027019</c:v>
                </c:pt>
                <c:pt idx="209">
                  <c:v>0.348070262505288</c:v>
                </c:pt>
                <c:pt idx="210">
                  <c:v>0.3536190332403058</c:v>
                </c:pt>
                <c:pt idx="211">
                  <c:v>0.35916780397532355</c:v>
                </c:pt>
                <c:pt idx="212">
                  <c:v>0.36471657471034136</c:v>
                </c:pt>
                <c:pt idx="213">
                  <c:v>0.37026534544535916</c:v>
                </c:pt>
                <c:pt idx="214">
                  <c:v>0.39153662980939563</c:v>
                </c:pt>
                <c:pt idx="215">
                  <c:v>0.41280791417343204</c:v>
                </c:pt>
                <c:pt idx="216">
                  <c:v>0.43407919853746846</c:v>
                </c:pt>
                <c:pt idx="217">
                  <c:v>0.45535048290150493</c:v>
                </c:pt>
                <c:pt idx="218">
                  <c:v>0.47662176726554134</c:v>
                </c:pt>
                <c:pt idx="219">
                  <c:v>0.49789305162957781</c:v>
                </c:pt>
                <c:pt idx="220">
                  <c:v>0.51916433599361422</c:v>
                </c:pt>
                <c:pt idx="221">
                  <c:v>0.54043562035765069</c:v>
                </c:pt>
                <c:pt idx="222">
                  <c:v>0.56170690472168705</c:v>
                </c:pt>
                <c:pt idx="223">
                  <c:v>0.58297818908572352</c:v>
                </c:pt>
                <c:pt idx="224">
                  <c:v>0.60424947344975999</c:v>
                </c:pt>
                <c:pt idx="225">
                  <c:v>0.62552075781379635</c:v>
                </c:pt>
                <c:pt idx="226">
                  <c:v>0.64679204217783282</c:v>
                </c:pt>
                <c:pt idx="227">
                  <c:v>0.66806332654186928</c:v>
                </c:pt>
                <c:pt idx="228">
                  <c:v>0.68933461090590575</c:v>
                </c:pt>
                <c:pt idx="229">
                  <c:v>0.71060589526994211</c:v>
                </c:pt>
                <c:pt idx="230">
                  <c:v>0.73187717963397858</c:v>
                </c:pt>
                <c:pt idx="231">
                  <c:v>0.75314846399801505</c:v>
                </c:pt>
                <c:pt idx="232">
                  <c:v>0.77441974836205141</c:v>
                </c:pt>
                <c:pt idx="233">
                  <c:v>0.79569103272608788</c:v>
                </c:pt>
                <c:pt idx="234">
                  <c:v>0.81696231709012435</c:v>
                </c:pt>
                <c:pt idx="235">
                  <c:v>0.81696231709012435</c:v>
                </c:pt>
                <c:pt idx="236">
                  <c:v>0.81696231709012435</c:v>
                </c:pt>
                <c:pt idx="237">
                  <c:v>0.81696231709012435</c:v>
                </c:pt>
                <c:pt idx="238">
                  <c:v>0.81696231709012435</c:v>
                </c:pt>
                <c:pt idx="239">
                  <c:v>0.81696231709012435</c:v>
                </c:pt>
                <c:pt idx="240">
                  <c:v>0.81696231709012435</c:v>
                </c:pt>
                <c:pt idx="241">
                  <c:v>0.81696231709012435</c:v>
                </c:pt>
                <c:pt idx="242">
                  <c:v>0.81696231709012435</c:v>
                </c:pt>
                <c:pt idx="243">
                  <c:v>0.81696231709012435</c:v>
                </c:pt>
                <c:pt idx="244">
                  <c:v>0.816962317090124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267-42C6-AC42-927B0F02AEC7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7 30-34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E$5:$E$249</c:f>
              <c:numCache>
                <c:formatCode>0.00%</c:formatCode>
                <c:ptCount val="245"/>
                <c:pt idx="0">
                  <c:v>1.1955471041422189E-3</c:v>
                </c:pt>
                <c:pt idx="1">
                  <c:v>1.3458523340747471E-3</c:v>
                </c:pt>
                <c:pt idx="2">
                  <c:v>1.3692944341559669E-3</c:v>
                </c:pt>
                <c:pt idx="3">
                  <c:v>1.5113259817068881E-3</c:v>
                </c:pt>
                <c:pt idx="4">
                  <c:v>1.6285364821129879E-3</c:v>
                </c:pt>
                <c:pt idx="5">
                  <c:v>2.0256732364301263E-3</c:v>
                </c:pt>
                <c:pt idx="6">
                  <c:v>2.5289889146445552E-3</c:v>
                </c:pt>
                <c:pt idx="7">
                  <c:v>3.1343466755654713E-3</c:v>
                </c:pt>
                <c:pt idx="8">
                  <c:v>3.9134517665001351E-3</c:v>
                </c:pt>
                <c:pt idx="9">
                  <c:v>4.8276936696677146E-3</c:v>
                </c:pt>
                <c:pt idx="10">
                  <c:v>4.9793778466638433E-3</c:v>
                </c:pt>
                <c:pt idx="11">
                  <c:v>5.1310620236599729E-3</c:v>
                </c:pt>
                <c:pt idx="12">
                  <c:v>6.0466828738911533E-3</c:v>
                </c:pt>
                <c:pt idx="13">
                  <c:v>7.1898299896165276E-3</c:v>
                </c:pt>
                <c:pt idx="14">
                  <c:v>8.2433455462078246E-3</c:v>
                </c:pt>
                <c:pt idx="15">
                  <c:v>9.3120295204987356E-3</c:v>
                </c:pt>
                <c:pt idx="16">
                  <c:v>1.0284187200337564E-2</c:v>
                </c:pt>
                <c:pt idx="17">
                  <c:v>1.0404155594870866E-2</c:v>
                </c:pt>
                <c:pt idx="18">
                  <c:v>1.0475860842178128E-2</c:v>
                </c:pt>
                <c:pt idx="19">
                  <c:v>1.1078460708971841E-2</c:v>
                </c:pt>
                <c:pt idx="20">
                  <c:v>1.1585913228377074E-2</c:v>
                </c:pt>
                <c:pt idx="21">
                  <c:v>1.2053376282937872E-2</c:v>
                </c:pt>
                <c:pt idx="22">
                  <c:v>1.2529113019880278E-2</c:v>
                </c:pt>
                <c:pt idx="23">
                  <c:v>1.2960723450787446E-2</c:v>
                </c:pt>
                <c:pt idx="24">
                  <c:v>1.3015881333331493E-2</c:v>
                </c:pt>
                <c:pt idx="25">
                  <c:v>1.3031049751031105E-2</c:v>
                </c:pt>
                <c:pt idx="26">
                  <c:v>1.3320628634387353E-2</c:v>
                </c:pt>
                <c:pt idx="27">
                  <c:v>1.3571596999962767E-2</c:v>
                </c:pt>
                <c:pt idx="28">
                  <c:v>1.3839112730301395E-2</c:v>
                </c:pt>
                <c:pt idx="29">
                  <c:v>1.4043196895714368E-2</c:v>
                </c:pt>
                <c:pt idx="30">
                  <c:v>1.4175575813820082E-2</c:v>
                </c:pt>
                <c:pt idx="31">
                  <c:v>1.4186607390328891E-2</c:v>
                </c:pt>
                <c:pt idx="32">
                  <c:v>1.4192123178583295E-2</c:v>
                </c:pt>
                <c:pt idx="33">
                  <c:v>1.4334154726134217E-2</c:v>
                </c:pt>
                <c:pt idx="34">
                  <c:v>1.4452744173603918E-2</c:v>
                </c:pt>
                <c:pt idx="35">
                  <c:v>1.4600291509409244E-2</c:v>
                </c:pt>
                <c:pt idx="36">
                  <c:v>1.4713365168624539E-2</c:v>
                </c:pt>
                <c:pt idx="37">
                  <c:v>1.4855396716175461E-2</c:v>
                </c:pt>
                <c:pt idx="38">
                  <c:v>1.4858154610302663E-2</c:v>
                </c:pt>
                <c:pt idx="39">
                  <c:v>1.4860912504429865E-2</c:v>
                </c:pt>
                <c:pt idx="40">
                  <c:v>1.498363879309037E-2</c:v>
                </c:pt>
                <c:pt idx="41">
                  <c:v>1.5131186128895696E-2</c:v>
                </c:pt>
                <c:pt idx="42">
                  <c:v>1.5313207141291051E-2</c:v>
                </c:pt>
                <c:pt idx="43">
                  <c:v>1.5526943936149232E-2</c:v>
                </c:pt>
                <c:pt idx="44">
                  <c:v>1.5719996525053397E-2</c:v>
                </c:pt>
                <c:pt idx="45">
                  <c:v>1.5762743884025033E-2</c:v>
                </c:pt>
                <c:pt idx="46">
                  <c:v>1.5779291248788248E-2</c:v>
                </c:pt>
                <c:pt idx="47">
                  <c:v>1.6012333302536846E-2</c:v>
                </c:pt>
                <c:pt idx="48">
                  <c:v>1.6250891144539849E-2</c:v>
                </c:pt>
                <c:pt idx="49">
                  <c:v>1.6570806863295321E-2</c:v>
                </c:pt>
                <c:pt idx="50">
                  <c:v>1.6903133105623205E-2</c:v>
                </c:pt>
                <c:pt idx="51">
                  <c:v>1.728372249517713E-2</c:v>
                </c:pt>
                <c:pt idx="52">
                  <c:v>1.7356806689547991E-2</c:v>
                </c:pt>
                <c:pt idx="53">
                  <c:v>1.7384385630820016E-2</c:v>
                </c:pt>
                <c:pt idx="54">
                  <c:v>1.7751185549737928E-2</c:v>
                </c:pt>
                <c:pt idx="55">
                  <c:v>1.8248985439697954E-2</c:v>
                </c:pt>
                <c:pt idx="56">
                  <c:v>1.8835037941728451E-2</c:v>
                </c:pt>
                <c:pt idx="57">
                  <c:v>1.9485900955748207E-2</c:v>
                </c:pt>
                <c:pt idx="58">
                  <c:v>2.0087121875478318E-2</c:v>
                </c:pt>
                <c:pt idx="59">
                  <c:v>2.0182269222866801E-2</c:v>
                </c:pt>
                <c:pt idx="60">
                  <c:v>2.0280174464382482E-2</c:v>
                </c:pt>
                <c:pt idx="61">
                  <c:v>2.0976542731501076E-2</c:v>
                </c:pt>
                <c:pt idx="62">
                  <c:v>2.1821837281488596E-2</c:v>
                </c:pt>
                <c:pt idx="63">
                  <c:v>2.2708500243384153E-2</c:v>
                </c:pt>
                <c:pt idx="64">
                  <c:v>2.3409005351693549E-2</c:v>
                </c:pt>
                <c:pt idx="65">
                  <c:v>2.4215689383900237E-2</c:v>
                </c:pt>
                <c:pt idx="66">
                  <c:v>2.453698404971931E-2</c:v>
                </c:pt>
                <c:pt idx="67">
                  <c:v>2.4832078721329962E-2</c:v>
                </c:pt>
                <c:pt idx="68">
                  <c:v>2.5569815400356591E-2</c:v>
                </c:pt>
                <c:pt idx="69">
                  <c:v>2.643717310336173E-2</c:v>
                </c:pt>
                <c:pt idx="70">
                  <c:v>2.735279395359291E-2</c:v>
                </c:pt>
                <c:pt idx="71">
                  <c:v>2.8491804228127481E-2</c:v>
                </c:pt>
                <c:pt idx="72">
                  <c:v>2.9388119819468244E-2</c:v>
                </c:pt>
                <c:pt idx="73">
                  <c:v>2.9672182914570088E-2</c:v>
                </c:pt>
                <c:pt idx="74">
                  <c:v>2.9896951285937081E-2</c:v>
                </c:pt>
                <c:pt idx="75">
                  <c:v>3.0534024829320824E-2</c:v>
                </c:pt>
                <c:pt idx="76">
                  <c:v>3.1532382503368074E-2</c:v>
                </c:pt>
                <c:pt idx="77">
                  <c:v>3.2369403370973986E-2</c:v>
                </c:pt>
                <c:pt idx="78">
                  <c:v>3.3129203203018237E-2</c:v>
                </c:pt>
                <c:pt idx="79">
                  <c:v>3.3919339870461709E-2</c:v>
                </c:pt>
                <c:pt idx="80">
                  <c:v>3.4283381895252416E-2</c:v>
                </c:pt>
                <c:pt idx="81">
                  <c:v>3.4476434484156583E-2</c:v>
                </c:pt>
                <c:pt idx="82">
                  <c:v>3.4974234374116606E-2</c:v>
                </c:pt>
                <c:pt idx="83">
                  <c:v>3.5592002658609935E-2</c:v>
                </c:pt>
                <c:pt idx="84">
                  <c:v>3.629526566104653E-2</c:v>
                </c:pt>
                <c:pt idx="85">
                  <c:v>3.6990254981101527E-2</c:v>
                </c:pt>
                <c:pt idx="86">
                  <c:v>3.7841065319343448E-2</c:v>
                </c:pt>
                <c:pt idx="87">
                  <c:v>3.8054802114201633E-2</c:v>
                </c:pt>
                <c:pt idx="88">
                  <c:v>3.8229928391278978E-2</c:v>
                </c:pt>
                <c:pt idx="89">
                  <c:v>3.8697391445839779E-2</c:v>
                </c:pt>
                <c:pt idx="90">
                  <c:v>3.9297233418506293E-2</c:v>
                </c:pt>
                <c:pt idx="91">
                  <c:v>3.9950854326653247E-2</c:v>
                </c:pt>
                <c:pt idx="92">
                  <c:v>4.072720152346071E-2</c:v>
                </c:pt>
                <c:pt idx="93">
                  <c:v>4.0947833053636896E-2</c:v>
                </c:pt>
                <c:pt idx="94">
                  <c:v>4.108296986586981E-2</c:v>
                </c:pt>
                <c:pt idx="95">
                  <c:v>4.113950669547746E-2</c:v>
                </c:pt>
                <c:pt idx="96">
                  <c:v>4.1205696154530319E-2</c:v>
                </c:pt>
                <c:pt idx="97">
                  <c:v>4.1551811867494209E-2</c:v>
                </c:pt>
                <c:pt idx="98">
                  <c:v>4.2128211740079503E-2</c:v>
                </c:pt>
                <c:pt idx="99">
                  <c:v>4.3034179960865476E-2</c:v>
                </c:pt>
                <c:pt idx="100">
                  <c:v>4.4400716500894243E-2</c:v>
                </c:pt>
                <c:pt idx="101">
                  <c:v>4.48240532494198E-2</c:v>
                </c:pt>
                <c:pt idx="102">
                  <c:v>4.5061232144359205E-2</c:v>
                </c:pt>
                <c:pt idx="103">
                  <c:v>4.5827926711721458E-2</c:v>
                </c:pt>
                <c:pt idx="104">
                  <c:v>4.6613926537974124E-2</c:v>
                </c:pt>
                <c:pt idx="105">
                  <c:v>4.7420610570180814E-2</c:v>
                </c:pt>
                <c:pt idx="106">
                  <c:v>4.864787345678586E-2</c:v>
                </c:pt>
                <c:pt idx="107">
                  <c:v>5.002406262625983E-2</c:v>
                </c:pt>
                <c:pt idx="108">
                  <c:v>5.0589430922336316E-2</c:v>
                </c:pt>
                <c:pt idx="109">
                  <c:v>5.112722027714077E-2</c:v>
                </c:pt>
                <c:pt idx="110">
                  <c:v>5.2358620004936622E-2</c:v>
                </c:pt>
                <c:pt idx="111">
                  <c:v>5.3442472396927149E-2</c:v>
                </c:pt>
                <c:pt idx="112">
                  <c:v>5.4671114230595792E-2</c:v>
                </c:pt>
                <c:pt idx="113">
                  <c:v>5.5938366582045276E-2</c:v>
                </c:pt>
                <c:pt idx="114">
                  <c:v>5.7809597747352066E-2</c:v>
                </c:pt>
                <c:pt idx="115">
                  <c:v>5.8352902890410931E-2</c:v>
                </c:pt>
                <c:pt idx="116">
                  <c:v>5.8834155415607742E-2</c:v>
                </c:pt>
                <c:pt idx="117">
                  <c:v>5.9858713083863417E-2</c:v>
                </c:pt>
                <c:pt idx="118">
                  <c:v>6.0767439198776585E-2</c:v>
                </c:pt>
                <c:pt idx="119">
                  <c:v>6.182509159655869E-2</c:v>
                </c:pt>
                <c:pt idx="120">
                  <c:v>6.2921354512121622E-2</c:v>
                </c:pt>
                <c:pt idx="121">
                  <c:v>6.4325122622867617E-2</c:v>
                </c:pt>
                <c:pt idx="122">
                  <c:v>6.4690543594721928E-2</c:v>
                </c:pt>
                <c:pt idx="123">
                  <c:v>6.5051827725385439E-2</c:v>
                </c:pt>
                <c:pt idx="124">
                  <c:v>6.6212901152937625E-2</c:v>
                </c:pt>
                <c:pt idx="125">
                  <c:v>6.744292193366988E-2</c:v>
                </c:pt>
                <c:pt idx="126">
                  <c:v>6.8923911079977543E-2</c:v>
                </c:pt>
                <c:pt idx="127">
                  <c:v>7.0588300185744163E-2</c:v>
                </c:pt>
                <c:pt idx="128">
                  <c:v>7.2611215528047085E-2</c:v>
                </c:pt>
                <c:pt idx="129">
                  <c:v>7.343444692501698E-2</c:v>
                </c:pt>
                <c:pt idx="130">
                  <c:v>7.4078415203718731E-2</c:v>
                </c:pt>
                <c:pt idx="131">
                  <c:v>7.5653172750351272E-2</c:v>
                </c:pt>
                <c:pt idx="132">
                  <c:v>7.7353414479771523E-2</c:v>
                </c:pt>
                <c:pt idx="133">
                  <c:v>7.8899214138068441E-2</c:v>
                </c:pt>
                <c:pt idx="134">
                  <c:v>8.0509824308354613E-2</c:v>
                </c:pt>
                <c:pt idx="135">
                  <c:v>8.212181342570439E-2</c:v>
                </c:pt>
                <c:pt idx="136">
                  <c:v>8.2797497486868959E-2</c:v>
                </c:pt>
                <c:pt idx="137">
                  <c:v>8.3310465794528596E-2</c:v>
                </c:pt>
                <c:pt idx="138">
                  <c:v>8.4482570798589604E-2</c:v>
                </c:pt>
                <c:pt idx="139">
                  <c:v>8.5753959991229881E-2</c:v>
                </c:pt>
                <c:pt idx="140">
                  <c:v>8.7055686019269399E-2</c:v>
                </c:pt>
                <c:pt idx="141">
                  <c:v>8.8369822570881315E-2</c:v>
                </c:pt>
                <c:pt idx="142">
                  <c:v>8.9748769634482486E-2</c:v>
                </c:pt>
                <c:pt idx="143">
                  <c:v>9.0246569524442516E-2</c:v>
                </c:pt>
                <c:pt idx="144">
                  <c:v>9.0584411555024794E-2</c:v>
                </c:pt>
                <c:pt idx="145">
                  <c:v>9.1611727117407671E-2</c:v>
                </c:pt>
                <c:pt idx="146">
                  <c:v>9.2599053214946117E-2</c:v>
                </c:pt>
                <c:pt idx="147">
                  <c:v>9.4517168580415353E-2</c:v>
                </c:pt>
                <c:pt idx="148">
                  <c:v>9.7673578408998443E-2</c:v>
                </c:pt>
                <c:pt idx="149">
                  <c:v>0.10210965111260342</c:v>
                </c:pt>
                <c:pt idx="150">
                  <c:v>0.10515436622903482</c:v>
                </c:pt>
                <c:pt idx="151">
                  <c:v>0.10694148162346194</c:v>
                </c:pt>
                <c:pt idx="152">
                  <c:v>0.11426920631943858</c:v>
                </c:pt>
                <c:pt idx="153">
                  <c:v>0.12338680430396956</c:v>
                </c:pt>
                <c:pt idx="154">
                  <c:v>0.13472037021970762</c:v>
                </c:pt>
                <c:pt idx="155">
                  <c:v>0.14752389370524452</c:v>
                </c:pt>
                <c:pt idx="156">
                  <c:v>0.16057286976810245</c:v>
                </c:pt>
                <c:pt idx="157">
                  <c:v>0.1690892468329033</c:v>
                </c:pt>
                <c:pt idx="158">
                  <c:v>0.17950443400428298</c:v>
                </c:pt>
                <c:pt idx="159">
                  <c:v>0.19675506176993368</c:v>
                </c:pt>
                <c:pt idx="160">
                  <c:v>0.21521364716329902</c:v>
                </c:pt>
                <c:pt idx="161">
                  <c:v>0.229054138840664</c:v>
                </c:pt>
                <c:pt idx="162">
                  <c:v>0.2392569681642491</c:v>
                </c:pt>
                <c:pt idx="163">
                  <c:v>0.2494597974878342</c:v>
                </c:pt>
                <c:pt idx="164">
                  <c:v>0.25966262681141927</c:v>
                </c:pt>
                <c:pt idx="165">
                  <c:v>0.2698654561350044</c:v>
                </c:pt>
                <c:pt idx="166">
                  <c:v>0.28006828545858947</c:v>
                </c:pt>
                <c:pt idx="167">
                  <c:v>0.2902711147821746</c:v>
                </c:pt>
                <c:pt idx="168">
                  <c:v>0.30047394410575967</c:v>
                </c:pt>
                <c:pt idx="169">
                  <c:v>0.31067677342934474</c:v>
                </c:pt>
                <c:pt idx="170">
                  <c:v>0.32087960275292987</c:v>
                </c:pt>
                <c:pt idx="171">
                  <c:v>0.33108243207651494</c:v>
                </c:pt>
                <c:pt idx="172">
                  <c:v>0.34128526140010007</c:v>
                </c:pt>
                <c:pt idx="173">
                  <c:v>0.35148809072368514</c:v>
                </c:pt>
                <c:pt idx="174">
                  <c:v>0.36169092004727027</c:v>
                </c:pt>
                <c:pt idx="175">
                  <c:v>0.37189374937085534</c:v>
                </c:pt>
                <c:pt idx="176">
                  <c:v>0.38209657869444041</c:v>
                </c:pt>
                <c:pt idx="177">
                  <c:v>0.39229940801802554</c:v>
                </c:pt>
                <c:pt idx="178">
                  <c:v>0.40250223734161061</c:v>
                </c:pt>
                <c:pt idx="179">
                  <c:v>0.41270506666519574</c:v>
                </c:pt>
                <c:pt idx="180">
                  <c:v>0.42290789598878081</c:v>
                </c:pt>
                <c:pt idx="181">
                  <c:v>0.43311072531236594</c:v>
                </c:pt>
                <c:pt idx="182">
                  <c:v>0.44331355463595101</c:v>
                </c:pt>
                <c:pt idx="183" formatCode="#,##0">
                  <c:v>0.45861848809486044</c:v>
                </c:pt>
                <c:pt idx="184" formatCode="#,##0">
                  <c:v>0.47392342155376987</c:v>
                </c:pt>
                <c:pt idx="185" formatCode="#,##0">
                  <c:v>0.48922835501267936</c:v>
                </c:pt>
                <c:pt idx="186" formatCode="#,##0">
                  <c:v>0.50453328847158874</c:v>
                </c:pt>
                <c:pt idx="187" formatCode="#,##0">
                  <c:v>0.51983822193049822</c:v>
                </c:pt>
                <c:pt idx="188" formatCode="#,##0">
                  <c:v>0.53514315538940771</c:v>
                </c:pt>
                <c:pt idx="189" formatCode="#,##0">
                  <c:v>0.55044808884831709</c:v>
                </c:pt>
                <c:pt idx="190" formatCode="#,##0">
                  <c:v>0.56575302230722657</c:v>
                </c:pt>
                <c:pt idx="191" formatCode="#,##0">
                  <c:v>0.58105795576613595</c:v>
                </c:pt>
                <c:pt idx="192" formatCode="#,##0">
                  <c:v>0.59636288922504543</c:v>
                </c:pt>
                <c:pt idx="193" formatCode="#,##0">
                  <c:v>0.61166782268395492</c:v>
                </c:pt>
                <c:pt idx="194" formatCode="#,##0">
                  <c:v>0.6269727561428643</c:v>
                </c:pt>
                <c:pt idx="195" formatCode="#,##0">
                  <c:v>0.64227768960177378</c:v>
                </c:pt>
                <c:pt idx="196" formatCode="#,##0">
                  <c:v>0.65758262306068327</c:v>
                </c:pt>
                <c:pt idx="197" formatCode="#,##0">
                  <c:v>0.67288755651959264</c:v>
                </c:pt>
                <c:pt idx="198" formatCode="#,##0">
                  <c:v>0.68819248997850213</c:v>
                </c:pt>
                <c:pt idx="199" formatCode="#,##0">
                  <c:v>0.70349742343741151</c:v>
                </c:pt>
                <c:pt idx="200" formatCode="#,##0">
                  <c:v>0.71880235689632099</c:v>
                </c:pt>
                <c:pt idx="201" formatCode="#,##0">
                  <c:v>0.73410729035523048</c:v>
                </c:pt>
                <c:pt idx="202" formatCode="#,##0">
                  <c:v>0.74941222381413986</c:v>
                </c:pt>
                <c:pt idx="203" formatCode="#,##0">
                  <c:v>0.76471715727304934</c:v>
                </c:pt>
                <c:pt idx="204" formatCode="#,##0">
                  <c:v>0.78002209073195872</c:v>
                </c:pt>
                <c:pt idx="205" formatCode="#,##0">
                  <c:v>0.7953270241908682</c:v>
                </c:pt>
                <c:pt idx="206" formatCode="#,##0">
                  <c:v>0.81063195764977769</c:v>
                </c:pt>
                <c:pt idx="207" formatCode="#,##0">
                  <c:v>0.81063195764977769</c:v>
                </c:pt>
                <c:pt idx="208" formatCode="#,##0">
                  <c:v>0.81063195764977769</c:v>
                </c:pt>
                <c:pt idx="209" formatCode="#,##0">
                  <c:v>0.81063195764977769</c:v>
                </c:pt>
                <c:pt idx="210" formatCode="#,##0">
                  <c:v>0.81063195764977769</c:v>
                </c:pt>
                <c:pt idx="211" formatCode="#,##0">
                  <c:v>0.81063195764977769</c:v>
                </c:pt>
                <c:pt idx="212" formatCode="#,##0">
                  <c:v>0.81063195764977769</c:v>
                </c:pt>
                <c:pt idx="213" formatCode="#,##0">
                  <c:v>0.81063195764977769</c:v>
                </c:pt>
                <c:pt idx="214" formatCode="#,##0">
                  <c:v>0.81063195764977769</c:v>
                </c:pt>
                <c:pt idx="215" formatCode="#,##0">
                  <c:v>0.81063195764977769</c:v>
                </c:pt>
                <c:pt idx="216" formatCode="#,##0">
                  <c:v>0.81063195764977769</c:v>
                </c:pt>
                <c:pt idx="217" formatCode="#,##0">
                  <c:v>0.81063195764977769</c:v>
                </c:pt>
                <c:pt idx="218" formatCode="#,##0">
                  <c:v>0.81063195764977769</c:v>
                </c:pt>
                <c:pt idx="219" formatCode="#,##0">
                  <c:v>0.81063195764977769</c:v>
                </c:pt>
                <c:pt idx="220" formatCode="#,##0">
                  <c:v>0.81063195764977769</c:v>
                </c:pt>
                <c:pt idx="221" formatCode="#,##0">
                  <c:v>0.81063195764977769</c:v>
                </c:pt>
                <c:pt idx="222" formatCode="#,##0">
                  <c:v>0.81063195764977769</c:v>
                </c:pt>
                <c:pt idx="223" formatCode="#,##0">
                  <c:v>0.81063195764977769</c:v>
                </c:pt>
                <c:pt idx="224" formatCode="#,##0">
                  <c:v>0.81063195764977769</c:v>
                </c:pt>
                <c:pt idx="225" formatCode="#,##0">
                  <c:v>0.81063195764977769</c:v>
                </c:pt>
                <c:pt idx="226" formatCode="#,##0">
                  <c:v>0.81063195764977769</c:v>
                </c:pt>
                <c:pt idx="227" formatCode="#,##0">
                  <c:v>0.81063195764977769</c:v>
                </c:pt>
                <c:pt idx="228" formatCode="#,##0">
                  <c:v>0.81063195764977769</c:v>
                </c:pt>
                <c:pt idx="229" formatCode="#,##0">
                  <c:v>0.81063195764977769</c:v>
                </c:pt>
                <c:pt idx="230" formatCode="#,##0">
                  <c:v>0.81063195764977769</c:v>
                </c:pt>
                <c:pt idx="231" formatCode="#,##0">
                  <c:v>0.81063195764977769</c:v>
                </c:pt>
                <c:pt idx="232" formatCode="#,##0">
                  <c:v>0.81063195764977769</c:v>
                </c:pt>
                <c:pt idx="233" formatCode="#,##0">
                  <c:v>0.81063195764977769</c:v>
                </c:pt>
                <c:pt idx="234" formatCode="#,##0">
                  <c:v>0.81063195764977769</c:v>
                </c:pt>
                <c:pt idx="235" formatCode="#,##0">
                  <c:v>0.81063195764977769</c:v>
                </c:pt>
                <c:pt idx="236" formatCode="#,##0">
                  <c:v>0.81063195764977769</c:v>
                </c:pt>
                <c:pt idx="237" formatCode="#,##0">
                  <c:v>0.81063195764977769</c:v>
                </c:pt>
                <c:pt idx="238" formatCode="#,##0">
                  <c:v>0.81063195764977769</c:v>
                </c:pt>
                <c:pt idx="239" formatCode="#,##0">
                  <c:v>0.81063195764977769</c:v>
                </c:pt>
                <c:pt idx="240" formatCode="#,##0">
                  <c:v>0.81063195764977769</c:v>
                </c:pt>
                <c:pt idx="241" formatCode="#,##0">
                  <c:v>0.81063195764977769</c:v>
                </c:pt>
                <c:pt idx="242" formatCode="#,##0">
                  <c:v>0.81063195764977769</c:v>
                </c:pt>
                <c:pt idx="243" formatCode="#,##0">
                  <c:v>0.81063195764977769</c:v>
                </c:pt>
                <c:pt idx="244" formatCode="#,##0">
                  <c:v>0.810631957649777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F267-42C6-AC42-927B0F02AEC7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8 35-39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F$5:$F$249</c:f>
              <c:numCache>
                <c:formatCode>0.00%</c:formatCode>
                <c:ptCount val="245"/>
                <c:pt idx="0">
                  <c:v>1.2351091203659575E-3</c:v>
                </c:pt>
                <c:pt idx="1">
                  <c:v>1.3812382858413538E-3</c:v>
                </c:pt>
                <c:pt idx="2">
                  <c:v>1.416817560913624E-3</c:v>
                </c:pt>
                <c:pt idx="3">
                  <c:v>1.583277740716032E-3</c:v>
                </c:pt>
                <c:pt idx="4">
                  <c:v>1.6989103847009108E-3</c:v>
                </c:pt>
                <c:pt idx="5">
                  <c:v>2.1449220114997287E-3</c:v>
                </c:pt>
                <c:pt idx="6">
                  <c:v>2.7332507385876281E-3</c:v>
                </c:pt>
                <c:pt idx="7">
                  <c:v>3.4524603704056654E-3</c:v>
                </c:pt>
                <c:pt idx="8">
                  <c:v>4.3635439499348748E-3</c:v>
                </c:pt>
                <c:pt idx="9">
                  <c:v>5.4563359700117503E-3</c:v>
                </c:pt>
                <c:pt idx="10">
                  <c:v>5.6799771276088784E-3</c:v>
                </c:pt>
                <c:pt idx="11">
                  <c:v>5.8756631405063658E-3</c:v>
                </c:pt>
                <c:pt idx="12">
                  <c:v>6.9837034213285007E-3</c:v>
                </c:pt>
                <c:pt idx="13">
                  <c:v>8.4221226849645753E-3</c:v>
                </c:pt>
                <c:pt idx="14">
                  <c:v>9.8389402458781989E-3</c:v>
                </c:pt>
                <c:pt idx="15">
                  <c:v>1.1265923313955329E-2</c:v>
                </c:pt>
                <c:pt idx="16">
                  <c:v>1.2465453159249016E-2</c:v>
                </c:pt>
                <c:pt idx="17">
                  <c:v>1.2616665078306165E-2</c:v>
                </c:pt>
                <c:pt idx="18">
                  <c:v>1.2701801200800526E-2</c:v>
                </c:pt>
                <c:pt idx="19">
                  <c:v>1.3520124527462745E-2</c:v>
                </c:pt>
                <c:pt idx="20">
                  <c:v>1.4160551478763612E-2</c:v>
                </c:pt>
                <c:pt idx="21">
                  <c:v>1.4844181835509378E-2</c:v>
                </c:pt>
                <c:pt idx="22">
                  <c:v>1.5530353569046022E-2</c:v>
                </c:pt>
                <c:pt idx="23">
                  <c:v>1.6050065122780257E-2</c:v>
                </c:pt>
                <c:pt idx="24">
                  <c:v>1.6111058165761291E-2</c:v>
                </c:pt>
                <c:pt idx="25">
                  <c:v>1.6146637440833563E-2</c:v>
                </c:pt>
                <c:pt idx="26">
                  <c:v>1.6497347437974513E-2</c:v>
                </c:pt>
                <c:pt idx="27">
                  <c:v>1.685695225388353E-2</c:v>
                </c:pt>
                <c:pt idx="28">
                  <c:v>1.7212745004606234E-2</c:v>
                </c:pt>
                <c:pt idx="29">
                  <c:v>1.7525334349884038E-2</c:v>
                </c:pt>
                <c:pt idx="30">
                  <c:v>1.7709584167222583E-2</c:v>
                </c:pt>
                <c:pt idx="31">
                  <c:v>1.7717208297595211E-2</c:v>
                </c:pt>
                <c:pt idx="32">
                  <c:v>1.772610311636328E-2</c:v>
                </c:pt>
                <c:pt idx="33">
                  <c:v>1.7878585723815867E-2</c:v>
                </c:pt>
                <c:pt idx="34">
                  <c:v>1.8045045903618273E-2</c:v>
                </c:pt>
                <c:pt idx="35">
                  <c:v>1.8198799199466299E-2</c:v>
                </c:pt>
                <c:pt idx="36">
                  <c:v>1.8362718002477831E-2</c:v>
                </c:pt>
                <c:pt idx="37">
                  <c:v>1.8525366117093926E-2</c:v>
                </c:pt>
                <c:pt idx="38">
                  <c:v>1.8530448870675679E-2</c:v>
                </c:pt>
                <c:pt idx="39">
                  <c:v>1.8540614377839184E-2</c:v>
                </c:pt>
                <c:pt idx="40">
                  <c:v>1.8676578036151074E-2</c:v>
                </c:pt>
                <c:pt idx="41">
                  <c:v>1.8853203723116989E-2</c:v>
                </c:pt>
                <c:pt idx="42">
                  <c:v>1.9117506909368139E-2</c:v>
                </c:pt>
                <c:pt idx="43">
                  <c:v>1.9404682486737178E-2</c:v>
                </c:pt>
                <c:pt idx="44">
                  <c:v>1.9638489151497813E-2</c:v>
                </c:pt>
                <c:pt idx="45">
                  <c:v>1.9681692556942711E-2</c:v>
                </c:pt>
                <c:pt idx="46">
                  <c:v>1.9705835636456039E-2</c:v>
                </c:pt>
                <c:pt idx="47">
                  <c:v>1.9937100924425796E-2</c:v>
                </c:pt>
                <c:pt idx="48">
                  <c:v>2.019250929190888E-2</c:v>
                </c:pt>
                <c:pt idx="49">
                  <c:v>2.0563550303376841E-2</c:v>
                </c:pt>
                <c:pt idx="50">
                  <c:v>2.0944756822008311E-2</c:v>
                </c:pt>
                <c:pt idx="51">
                  <c:v>2.1423806347088521E-2</c:v>
                </c:pt>
                <c:pt idx="52">
                  <c:v>2.1497506274023939E-2</c:v>
                </c:pt>
                <c:pt idx="53">
                  <c:v>2.1516566599955513E-2</c:v>
                </c:pt>
                <c:pt idx="54">
                  <c:v>2.1873630039073656E-2</c:v>
                </c:pt>
                <c:pt idx="55">
                  <c:v>2.2496267352838387E-2</c:v>
                </c:pt>
                <c:pt idx="56">
                  <c:v>2.3078242637949095E-2</c:v>
                </c:pt>
                <c:pt idx="57">
                  <c:v>2.3885129769052368E-2</c:v>
                </c:pt>
                <c:pt idx="58">
                  <c:v>2.4550970488262002E-2</c:v>
                </c:pt>
                <c:pt idx="59">
                  <c:v>2.4639918675942677E-2</c:v>
                </c:pt>
                <c:pt idx="60">
                  <c:v>2.4719972044855286E-2</c:v>
                </c:pt>
                <c:pt idx="61">
                  <c:v>2.5675529718224833E-2</c:v>
                </c:pt>
                <c:pt idx="62">
                  <c:v>2.6789923441024158E-2</c:v>
                </c:pt>
                <c:pt idx="63">
                  <c:v>2.7998348105085915E-2</c:v>
                </c:pt>
                <c:pt idx="64">
                  <c:v>2.9139426284189442E-2</c:v>
                </c:pt>
                <c:pt idx="65">
                  <c:v>3.0177578703262476E-2</c:v>
                </c:pt>
                <c:pt idx="66">
                  <c:v>3.0623590330061293E-2</c:v>
                </c:pt>
                <c:pt idx="67">
                  <c:v>3.1084850217605368E-2</c:v>
                </c:pt>
                <c:pt idx="68">
                  <c:v>3.2095047491978758E-2</c:v>
                </c:pt>
                <c:pt idx="69">
                  <c:v>3.3272975634549999E-2</c:v>
                </c:pt>
                <c:pt idx="70">
                  <c:v>3.4529686457638403E-2</c:v>
                </c:pt>
                <c:pt idx="71">
                  <c:v>3.5983353982019739E-2</c:v>
                </c:pt>
                <c:pt idx="72">
                  <c:v>3.7191778646081496E-2</c:v>
                </c:pt>
                <c:pt idx="73">
                  <c:v>3.764541440325294E-2</c:v>
                </c:pt>
                <c:pt idx="74">
                  <c:v>3.7978334762857759E-2</c:v>
                </c:pt>
                <c:pt idx="75">
                  <c:v>3.8811906350265234E-2</c:v>
                </c:pt>
                <c:pt idx="76">
                  <c:v>4.0025413767908739E-2</c:v>
                </c:pt>
                <c:pt idx="77">
                  <c:v>4.105975412179546E-2</c:v>
                </c:pt>
                <c:pt idx="78">
                  <c:v>4.2054703135423588E-2</c:v>
                </c:pt>
                <c:pt idx="79">
                  <c:v>4.3282188125416919E-2</c:v>
                </c:pt>
                <c:pt idx="80">
                  <c:v>4.3763779027288008E-2</c:v>
                </c:pt>
                <c:pt idx="81">
                  <c:v>4.3973442612535316E-2</c:v>
                </c:pt>
                <c:pt idx="82">
                  <c:v>4.4582102353950229E-2</c:v>
                </c:pt>
                <c:pt idx="83">
                  <c:v>4.5335620572445098E-2</c:v>
                </c:pt>
                <c:pt idx="84">
                  <c:v>4.6114552558848727E-2</c:v>
                </c:pt>
                <c:pt idx="85">
                  <c:v>4.6935417262301826E-2</c:v>
                </c:pt>
                <c:pt idx="86">
                  <c:v>4.8129864354013757E-2</c:v>
                </c:pt>
                <c:pt idx="87">
                  <c:v>4.8448807141268757E-2</c:v>
                </c:pt>
                <c:pt idx="88">
                  <c:v>4.8705486197147277E-2</c:v>
                </c:pt>
                <c:pt idx="89">
                  <c:v>4.9302709743003242E-2</c:v>
                </c:pt>
                <c:pt idx="90">
                  <c:v>5.0053686584707234E-2</c:v>
                </c:pt>
                <c:pt idx="91">
                  <c:v>5.080339273801579E-2</c:v>
                </c:pt>
                <c:pt idx="92">
                  <c:v>5.1753867657803584E-2</c:v>
                </c:pt>
                <c:pt idx="93">
                  <c:v>5.2030877728009121E-2</c:v>
                </c:pt>
                <c:pt idx="94">
                  <c:v>5.2224022364115726E-2</c:v>
                </c:pt>
                <c:pt idx="95">
                  <c:v>5.2286286095492199E-2</c:v>
                </c:pt>
                <c:pt idx="96">
                  <c:v>5.2373963594777438E-2</c:v>
                </c:pt>
                <c:pt idx="97">
                  <c:v>5.2794561453667496E-2</c:v>
                </c:pt>
                <c:pt idx="98">
                  <c:v>5.3395597064709775E-2</c:v>
                </c:pt>
                <c:pt idx="99">
                  <c:v>5.4625623431493978E-2</c:v>
                </c:pt>
                <c:pt idx="100">
                  <c:v>5.6078020267479871E-2</c:v>
                </c:pt>
                <c:pt idx="101">
                  <c:v>5.6929381492423485E-2</c:v>
                </c:pt>
                <c:pt idx="102">
                  <c:v>5.7254677721655677E-2</c:v>
                </c:pt>
                <c:pt idx="103">
                  <c:v>5.8377966263223065E-2</c:v>
                </c:pt>
                <c:pt idx="104">
                  <c:v>5.9375456653642078E-2</c:v>
                </c:pt>
                <c:pt idx="105">
                  <c:v>6.0450459036182819E-2</c:v>
                </c:pt>
                <c:pt idx="106">
                  <c:v>6.1967660980336063E-2</c:v>
                </c:pt>
                <c:pt idx="107">
                  <c:v>6.4002033101432668E-2</c:v>
                </c:pt>
                <c:pt idx="108">
                  <c:v>6.4971568347152037E-2</c:v>
                </c:pt>
                <c:pt idx="109">
                  <c:v>6.5763207217510042E-2</c:v>
                </c:pt>
                <c:pt idx="110">
                  <c:v>6.7551065789891632E-2</c:v>
                </c:pt>
                <c:pt idx="111">
                  <c:v>6.9103847009117148E-2</c:v>
                </c:pt>
                <c:pt idx="112">
                  <c:v>7.0707455764160196E-2</c:v>
                </c:pt>
                <c:pt idx="113">
                  <c:v>7.2379681692556902E-2</c:v>
                </c:pt>
                <c:pt idx="114">
                  <c:v>7.4698688014231671E-2</c:v>
                </c:pt>
                <c:pt idx="115">
                  <c:v>7.5288287429715009E-2</c:v>
                </c:pt>
                <c:pt idx="116">
                  <c:v>7.5754630070840837E-2</c:v>
                </c:pt>
                <c:pt idx="117">
                  <c:v>7.7055814987769575E-2</c:v>
                </c:pt>
                <c:pt idx="118">
                  <c:v>7.8097779472028922E-2</c:v>
                </c:pt>
                <c:pt idx="119">
                  <c:v>7.9350678229931013E-2</c:v>
                </c:pt>
                <c:pt idx="120">
                  <c:v>8.0712856189840795E-2</c:v>
                </c:pt>
                <c:pt idx="121">
                  <c:v>8.2479113059499939E-2</c:v>
                </c:pt>
                <c:pt idx="122">
                  <c:v>8.2947997077416638E-2</c:v>
                </c:pt>
                <c:pt idx="123">
                  <c:v>8.3368594936306689E-2</c:v>
                </c:pt>
                <c:pt idx="124">
                  <c:v>8.4752374598938932E-2</c:v>
                </c:pt>
                <c:pt idx="125">
                  <c:v>8.6342005781632147E-2</c:v>
                </c:pt>
                <c:pt idx="126">
                  <c:v>8.8170526382667758E-2</c:v>
                </c:pt>
                <c:pt idx="127">
                  <c:v>9.0309094952190291E-2</c:v>
                </c:pt>
                <c:pt idx="128">
                  <c:v>9.2750087359827135E-2</c:v>
                </c:pt>
                <c:pt idx="129">
                  <c:v>9.3695479526033174E-2</c:v>
                </c:pt>
                <c:pt idx="130">
                  <c:v>9.4362590933638246E-2</c:v>
                </c:pt>
                <c:pt idx="131">
                  <c:v>9.6399504431525729E-2</c:v>
                </c:pt>
                <c:pt idx="132">
                  <c:v>9.8437688617808633E-2</c:v>
                </c:pt>
                <c:pt idx="133">
                  <c:v>0.10013278693732323</c:v>
                </c:pt>
                <c:pt idx="134">
                  <c:v>0.10216461768162896</c:v>
                </c:pt>
                <c:pt idx="135">
                  <c:v>0.10399186759426914</c:v>
                </c:pt>
                <c:pt idx="136">
                  <c:v>0.10477079958067277</c:v>
                </c:pt>
                <c:pt idx="137">
                  <c:v>0.10531973696750208</c:v>
                </c:pt>
                <c:pt idx="138">
                  <c:v>0.10679881825979218</c:v>
                </c:pt>
                <c:pt idx="139">
                  <c:v>0.10830331331999105</c:v>
                </c:pt>
                <c:pt idx="140">
                  <c:v>0.10995393754566529</c:v>
                </c:pt>
                <c:pt idx="141">
                  <c:v>0.11165920137234341</c:v>
                </c:pt>
                <c:pt idx="142">
                  <c:v>0.11342291686521166</c:v>
                </c:pt>
                <c:pt idx="143">
                  <c:v>0.11401759903427675</c:v>
                </c:pt>
                <c:pt idx="144">
                  <c:v>0.11441532450204892</c:v>
                </c:pt>
                <c:pt idx="145">
                  <c:v>0.11656278789033953</c:v>
                </c:pt>
                <c:pt idx="146">
                  <c:v>0.12323517265478566</c:v>
                </c:pt>
                <c:pt idx="147">
                  <c:v>0.13524826074525867</c:v>
                </c:pt>
                <c:pt idx="148">
                  <c:v>0.14788017408431009</c:v>
                </c:pt>
                <c:pt idx="149">
                  <c:v>0.1601257981511483</c:v>
                </c:pt>
                <c:pt idx="150">
                  <c:v>0.16586930969852909</c:v>
                </c:pt>
                <c:pt idx="151">
                  <c:v>0.1696991645223799</c:v>
                </c:pt>
                <c:pt idx="152">
                  <c:v>0.18318752183995668</c:v>
                </c:pt>
                <c:pt idx="153">
                  <c:v>0.1981791035293369</c:v>
                </c:pt>
                <c:pt idx="154">
                  <c:v>0.21719368467867453</c:v>
                </c:pt>
                <c:pt idx="155">
                  <c:v>0.23520315130722055</c:v>
                </c:pt>
                <c:pt idx="156">
                  <c:v>0.25259887544076987</c:v>
                </c:pt>
                <c:pt idx="157">
                  <c:v>0.26415832777407144</c:v>
                </c:pt>
                <c:pt idx="158">
                  <c:v>0.27163251691603912</c:v>
                </c:pt>
                <c:pt idx="159">
                  <c:v>0.28962165253025812</c:v>
                </c:pt>
                <c:pt idx="160">
                  <c:v>0.30293465484926441</c:v>
                </c:pt>
                <c:pt idx="161">
                  <c:v>0.31147241017821387</c:v>
                </c:pt>
                <c:pt idx="162">
                  <c:v>0.3228755678388765</c:v>
                </c:pt>
                <c:pt idx="163">
                  <c:v>0.33427872549953919</c:v>
                </c:pt>
                <c:pt idx="164">
                  <c:v>0.34568188316020182</c:v>
                </c:pt>
                <c:pt idx="165">
                  <c:v>0.35708504082086451</c:v>
                </c:pt>
                <c:pt idx="166">
                  <c:v>0.36848819848152714</c:v>
                </c:pt>
                <c:pt idx="167">
                  <c:v>0.37989135614218983</c:v>
                </c:pt>
                <c:pt idx="168">
                  <c:v>0.39129451380285246</c:v>
                </c:pt>
                <c:pt idx="169">
                  <c:v>0.40269767146351509</c:v>
                </c:pt>
                <c:pt idx="170">
                  <c:v>0.41410082912417778</c:v>
                </c:pt>
                <c:pt idx="171">
                  <c:v>0.42550398678484042</c:v>
                </c:pt>
                <c:pt idx="172">
                  <c:v>0.4369071444455031</c:v>
                </c:pt>
                <c:pt idx="173">
                  <c:v>0.44831030210616574</c:v>
                </c:pt>
                <c:pt idx="174">
                  <c:v>0.45971345976682843</c:v>
                </c:pt>
                <c:pt idx="175">
                  <c:v>0.47111661742749106</c:v>
                </c:pt>
                <c:pt idx="176">
                  <c:v>0.48251977508815375</c:v>
                </c:pt>
                <c:pt idx="177">
                  <c:v>0.49392293274881638</c:v>
                </c:pt>
                <c:pt idx="178">
                  <c:v>0.50532609040947907</c:v>
                </c:pt>
                <c:pt idx="179">
                  <c:v>0.51672924807014164</c:v>
                </c:pt>
                <c:pt idx="180">
                  <c:v>0.52813240573080433</c:v>
                </c:pt>
                <c:pt idx="181">
                  <c:v>0.53953556339146702</c:v>
                </c:pt>
                <c:pt idx="182">
                  <c:v>0.55093872105212971</c:v>
                </c:pt>
                <c:pt idx="183" formatCode="#,##0">
                  <c:v>0.56804345754312369</c:v>
                </c:pt>
                <c:pt idx="184" formatCode="#,##0">
                  <c:v>0.58514819403411766</c:v>
                </c:pt>
                <c:pt idx="185" formatCode="#,##0">
                  <c:v>0.60225293052511164</c:v>
                </c:pt>
                <c:pt idx="186" formatCode="#,##0">
                  <c:v>0.61935766701610562</c:v>
                </c:pt>
                <c:pt idx="187" formatCode="#,##0">
                  <c:v>0.63646240350709959</c:v>
                </c:pt>
                <c:pt idx="188" formatCode="#,##0">
                  <c:v>0.65356713999809357</c:v>
                </c:pt>
                <c:pt idx="189" formatCode="#,##0">
                  <c:v>0.67067187648908755</c:v>
                </c:pt>
                <c:pt idx="190" formatCode="#,##0">
                  <c:v>0.68777661298008153</c:v>
                </c:pt>
                <c:pt idx="191" formatCode="#,##0">
                  <c:v>0.7048813494710755</c:v>
                </c:pt>
                <c:pt idx="192" formatCode="#,##0">
                  <c:v>0.72198608596206948</c:v>
                </c:pt>
                <c:pt idx="193" formatCode="#,##0">
                  <c:v>0.73909082245306346</c:v>
                </c:pt>
                <c:pt idx="194" formatCode="#,##0">
                  <c:v>0.75619555894405754</c:v>
                </c:pt>
                <c:pt idx="195" formatCode="#,##0">
                  <c:v>0.77330029543505152</c:v>
                </c:pt>
                <c:pt idx="196" formatCode="#,##0">
                  <c:v>0.7904050319260455</c:v>
                </c:pt>
                <c:pt idx="197" formatCode="#,##0">
                  <c:v>0.80750976841703948</c:v>
                </c:pt>
                <c:pt idx="198" formatCode="#,##0">
                  <c:v>0.80750976841703948</c:v>
                </c:pt>
                <c:pt idx="199" formatCode="#,##0">
                  <c:v>0.80750976841703948</c:v>
                </c:pt>
                <c:pt idx="200" formatCode="#,##0">
                  <c:v>0.80750976841703948</c:v>
                </c:pt>
                <c:pt idx="201" formatCode="#,##0">
                  <c:v>0.80750976841703948</c:v>
                </c:pt>
                <c:pt idx="202" formatCode="#,##0">
                  <c:v>0.80750976841703948</c:v>
                </c:pt>
                <c:pt idx="203" formatCode="#,##0">
                  <c:v>0.80750976841703948</c:v>
                </c:pt>
                <c:pt idx="204" formatCode="#,##0">
                  <c:v>0.80750976841703948</c:v>
                </c:pt>
                <c:pt idx="205" formatCode="#,##0">
                  <c:v>0.80750976841703948</c:v>
                </c:pt>
                <c:pt idx="206" formatCode="#,##0">
                  <c:v>0.80750976841703948</c:v>
                </c:pt>
                <c:pt idx="207" formatCode="#,##0">
                  <c:v>0.80750976841703948</c:v>
                </c:pt>
                <c:pt idx="208" formatCode="#,##0">
                  <c:v>0.80750976841703948</c:v>
                </c:pt>
                <c:pt idx="209" formatCode="#,##0">
                  <c:v>0.80750976841703948</c:v>
                </c:pt>
                <c:pt idx="210" formatCode="#,##0">
                  <c:v>0.80750976841703948</c:v>
                </c:pt>
                <c:pt idx="211" formatCode="#,##0">
                  <c:v>0.80750976841703948</c:v>
                </c:pt>
                <c:pt idx="212" formatCode="#,##0">
                  <c:v>0.80750976841703948</c:v>
                </c:pt>
                <c:pt idx="213" formatCode="#,##0">
                  <c:v>0.80750976841703948</c:v>
                </c:pt>
                <c:pt idx="214" formatCode="#,##0">
                  <c:v>0.80750976841703948</c:v>
                </c:pt>
                <c:pt idx="215" formatCode="#,##0">
                  <c:v>0.80750976841703948</c:v>
                </c:pt>
                <c:pt idx="216" formatCode="#,##0">
                  <c:v>0.80750976841703948</c:v>
                </c:pt>
                <c:pt idx="217" formatCode="#,##0">
                  <c:v>0.80750976841703948</c:v>
                </c:pt>
                <c:pt idx="218" formatCode="#,##0">
                  <c:v>0.80750976841703948</c:v>
                </c:pt>
                <c:pt idx="219" formatCode="#,##0">
                  <c:v>0.80750976841703948</c:v>
                </c:pt>
                <c:pt idx="220" formatCode="#,##0">
                  <c:v>0.80750976841703948</c:v>
                </c:pt>
                <c:pt idx="221" formatCode="#,##0">
                  <c:v>0.80750976841703948</c:v>
                </c:pt>
                <c:pt idx="222" formatCode="#,##0">
                  <c:v>0.80750976841703948</c:v>
                </c:pt>
                <c:pt idx="223" formatCode="#,##0">
                  <c:v>0.80750976841703948</c:v>
                </c:pt>
                <c:pt idx="224" formatCode="#,##0">
                  <c:v>0.80750976841703948</c:v>
                </c:pt>
                <c:pt idx="225" formatCode="#,##0">
                  <c:v>0.80750976841703948</c:v>
                </c:pt>
                <c:pt idx="226" formatCode="#,##0">
                  <c:v>0.80750976841703948</c:v>
                </c:pt>
                <c:pt idx="227" formatCode="#,##0">
                  <c:v>0.80750976841703948</c:v>
                </c:pt>
                <c:pt idx="228" formatCode="#,##0">
                  <c:v>0.80750976841703948</c:v>
                </c:pt>
                <c:pt idx="229" formatCode="#,##0">
                  <c:v>0.80750976841703948</c:v>
                </c:pt>
                <c:pt idx="230" formatCode="#,##0">
                  <c:v>0.80750976841703948</c:v>
                </c:pt>
                <c:pt idx="231" formatCode="#,##0">
                  <c:v>0.80750976841703948</c:v>
                </c:pt>
                <c:pt idx="232" formatCode="#,##0">
                  <c:v>0.80750976841703948</c:v>
                </c:pt>
                <c:pt idx="233" formatCode="#,##0">
                  <c:v>0.80750976841703948</c:v>
                </c:pt>
                <c:pt idx="234" formatCode="#,##0">
                  <c:v>0.80750976841703948</c:v>
                </c:pt>
                <c:pt idx="235" formatCode="#,##0">
                  <c:v>0.80750976841703948</c:v>
                </c:pt>
                <c:pt idx="236" formatCode="#,##0">
                  <c:v>0.80750976841703948</c:v>
                </c:pt>
                <c:pt idx="237" formatCode="#,##0">
                  <c:v>0.80750976841703948</c:v>
                </c:pt>
                <c:pt idx="238" formatCode="#,##0">
                  <c:v>0.80750976841703948</c:v>
                </c:pt>
                <c:pt idx="239" formatCode="#,##0">
                  <c:v>0.80750976841703948</c:v>
                </c:pt>
                <c:pt idx="240" formatCode="#,##0">
                  <c:v>0.80750976841703948</c:v>
                </c:pt>
                <c:pt idx="241" formatCode="#,##0">
                  <c:v>0.80750976841703948</c:v>
                </c:pt>
                <c:pt idx="242" formatCode="#,##0">
                  <c:v>0.80750976841703948</c:v>
                </c:pt>
                <c:pt idx="243" formatCode="#,##0">
                  <c:v>0.80750976841703948</c:v>
                </c:pt>
                <c:pt idx="244" formatCode="#,##0">
                  <c:v>0.807509768417039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F267-42C6-AC42-927B0F02AEC7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9 40-44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G$5:$G$249</c:f>
              <c:numCache>
                <c:formatCode>0.00%</c:formatCode>
                <c:ptCount val="245"/>
                <c:pt idx="0">
                  <c:v>1.473219095735772E-3</c:v>
                </c:pt>
                <c:pt idx="1">
                  <c:v>1.6385695373281287E-3</c:v>
                </c:pt>
                <c:pt idx="2">
                  <c:v>1.6865745042420387E-3</c:v>
                </c:pt>
                <c:pt idx="3">
                  <c:v>1.8999299127483054E-3</c:v>
                </c:pt>
                <c:pt idx="4">
                  <c:v>2.058879692085474E-3</c:v>
                </c:pt>
                <c:pt idx="5">
                  <c:v>2.6093366460316425E-3</c:v>
                </c:pt>
                <c:pt idx="6">
                  <c:v>3.2931407302942274E-3</c:v>
                </c:pt>
                <c:pt idx="7">
                  <c:v>4.181766006722828E-3</c:v>
                </c:pt>
                <c:pt idx="8">
                  <c:v>5.2410756099564425E-3</c:v>
                </c:pt>
                <c:pt idx="9">
                  <c:v>6.6001495621413617E-3</c:v>
                </c:pt>
                <c:pt idx="10">
                  <c:v>6.8188388558602852E-3</c:v>
                </c:pt>
                <c:pt idx="11">
                  <c:v>7.0396617036642718E-3</c:v>
                </c:pt>
                <c:pt idx="12">
                  <c:v>8.4552748391033515E-3</c:v>
                </c:pt>
                <c:pt idx="13">
                  <c:v>1.0129048018835015E-2</c:v>
                </c:pt>
                <c:pt idx="14">
                  <c:v>1.1691876386143418E-2</c:v>
                </c:pt>
                <c:pt idx="15">
                  <c:v>1.3383784775598113E-2</c:v>
                </c:pt>
                <c:pt idx="16">
                  <c:v>1.489220751373742E-2</c:v>
                </c:pt>
                <c:pt idx="17">
                  <c:v>1.511729746971153E-2</c:v>
                </c:pt>
                <c:pt idx="18">
                  <c:v>1.5200506079028975E-2</c:v>
                </c:pt>
                <c:pt idx="19">
                  <c:v>1.6241680472539557E-2</c:v>
                </c:pt>
                <c:pt idx="20">
                  <c:v>1.7123905086712968E-2</c:v>
                </c:pt>
                <c:pt idx="21">
                  <c:v>1.7911186544101093E-2</c:v>
                </c:pt>
                <c:pt idx="22">
                  <c:v>1.8820080584337789E-2</c:v>
                </c:pt>
                <c:pt idx="23">
                  <c:v>1.9573225176364912E-2</c:v>
                </c:pt>
                <c:pt idx="24">
                  <c:v>1.9650033123427169E-2</c:v>
                </c:pt>
                <c:pt idx="25">
                  <c:v>1.9685236765830703E-2</c:v>
                </c:pt>
                <c:pt idx="26">
                  <c:v>2.0075677163397171E-2</c:v>
                </c:pt>
                <c:pt idx="27">
                  <c:v>2.0518389636047674E-2</c:v>
                </c:pt>
                <c:pt idx="28">
                  <c:v>2.0949367561230333E-2</c:v>
                </c:pt>
                <c:pt idx="29">
                  <c:v>2.1272601005117325E-2</c:v>
                </c:pt>
                <c:pt idx="30">
                  <c:v>2.1551029813218006E-2</c:v>
                </c:pt>
                <c:pt idx="31">
                  <c:v>2.1563831137728379E-2</c:v>
                </c:pt>
                <c:pt idx="32">
                  <c:v>2.1574498908153696E-2</c:v>
                </c:pt>
                <c:pt idx="33">
                  <c:v>2.1736649018618458E-2</c:v>
                </c:pt>
                <c:pt idx="34">
                  <c:v>2.1911600453593597E-2</c:v>
                </c:pt>
                <c:pt idx="35">
                  <c:v>2.2122822308014801E-2</c:v>
                </c:pt>
                <c:pt idx="36">
                  <c:v>2.2311641844542845E-2</c:v>
                </c:pt>
                <c:pt idx="37">
                  <c:v>2.2535665023474427E-2</c:v>
                </c:pt>
                <c:pt idx="38">
                  <c:v>2.2543132462772144E-2</c:v>
                </c:pt>
                <c:pt idx="39">
                  <c:v>2.25484663479848E-2</c:v>
                </c:pt>
                <c:pt idx="40">
                  <c:v>2.2718083897747283E-2</c:v>
                </c:pt>
                <c:pt idx="41">
                  <c:v>2.2980511050209991E-2</c:v>
                </c:pt>
                <c:pt idx="42">
                  <c:v>2.3334681028330397E-2</c:v>
                </c:pt>
                <c:pt idx="43">
                  <c:v>2.3650447032919669E-2</c:v>
                </c:pt>
                <c:pt idx="44">
                  <c:v>2.3976880807934257E-2</c:v>
                </c:pt>
                <c:pt idx="45">
                  <c:v>2.4041954207528669E-2</c:v>
                </c:pt>
                <c:pt idx="46">
                  <c:v>2.4071823964719546E-2</c:v>
                </c:pt>
                <c:pt idx="47">
                  <c:v>2.4356653435075412E-2</c:v>
                </c:pt>
                <c:pt idx="48">
                  <c:v>2.4716157298408471E-2</c:v>
                </c:pt>
                <c:pt idx="49">
                  <c:v>2.5143934892463537E-2</c:v>
                </c:pt>
                <c:pt idx="50">
                  <c:v>2.5616517122304918E-2</c:v>
                </c:pt>
                <c:pt idx="51">
                  <c:v>2.6179775400761461E-2</c:v>
                </c:pt>
                <c:pt idx="52">
                  <c:v>2.6264050787121438E-2</c:v>
                </c:pt>
                <c:pt idx="53">
                  <c:v>2.6282185996844471E-2</c:v>
                </c:pt>
                <c:pt idx="54">
                  <c:v>2.6732365908792691E-2</c:v>
                </c:pt>
                <c:pt idx="55">
                  <c:v>2.7375632465439087E-2</c:v>
                </c:pt>
                <c:pt idx="56">
                  <c:v>2.8018899022085483E-2</c:v>
                </c:pt>
                <c:pt idx="57">
                  <c:v>2.8920325623024459E-2</c:v>
                </c:pt>
                <c:pt idx="58">
                  <c:v>2.9715074519710304E-2</c:v>
                </c:pt>
                <c:pt idx="59">
                  <c:v>2.9855889089324437E-2</c:v>
                </c:pt>
                <c:pt idx="60">
                  <c:v>2.9982835557385668E-2</c:v>
                </c:pt>
                <c:pt idx="61">
                  <c:v>3.1132821209234444E-2</c:v>
                </c:pt>
                <c:pt idx="62">
                  <c:v>3.2724452556691194E-2</c:v>
                </c:pt>
                <c:pt idx="63">
                  <c:v>3.4460098804889677E-2</c:v>
                </c:pt>
                <c:pt idx="64">
                  <c:v>3.5969588320071515E-2</c:v>
                </c:pt>
                <c:pt idx="65">
                  <c:v>3.7412937658616405E-2</c:v>
                </c:pt>
                <c:pt idx="66">
                  <c:v>3.7997531477923577E-2</c:v>
                </c:pt>
                <c:pt idx="67">
                  <c:v>3.8654666136122881E-2</c:v>
                </c:pt>
                <c:pt idx="68">
                  <c:v>4.0011606534222734E-2</c:v>
                </c:pt>
                <c:pt idx="69">
                  <c:v>4.164484218633821E-2</c:v>
                </c:pt>
                <c:pt idx="70">
                  <c:v>4.3191668898008642E-2</c:v>
                </c:pt>
                <c:pt idx="71">
                  <c:v>4.4997722431014187E-2</c:v>
                </c:pt>
                <c:pt idx="72">
                  <c:v>4.6863515478401493E-2</c:v>
                </c:pt>
                <c:pt idx="73">
                  <c:v>4.7541985677451423E-2</c:v>
                </c:pt>
                <c:pt idx="74">
                  <c:v>4.8054038657866463E-2</c:v>
                </c:pt>
                <c:pt idx="75">
                  <c:v>4.9289366473117747E-2</c:v>
                </c:pt>
                <c:pt idx="76">
                  <c:v>5.107621801935773E-2</c:v>
                </c:pt>
                <c:pt idx="77">
                  <c:v>5.2497165040009466E-2</c:v>
                </c:pt>
                <c:pt idx="78">
                  <c:v>5.3843437667684006E-2</c:v>
                </c:pt>
                <c:pt idx="79">
                  <c:v>5.5393464710482038E-2</c:v>
                </c:pt>
                <c:pt idx="80">
                  <c:v>5.5956722988938584E-2</c:v>
                </c:pt>
                <c:pt idx="81">
                  <c:v>5.621061592506104E-2</c:v>
                </c:pt>
                <c:pt idx="82">
                  <c:v>5.7139778729105833E-2</c:v>
                </c:pt>
                <c:pt idx="83">
                  <c:v>5.8073208641320748E-2</c:v>
                </c:pt>
                <c:pt idx="84">
                  <c:v>5.9139985683852085E-2</c:v>
                </c:pt>
                <c:pt idx="85">
                  <c:v>6.0312373653594015E-2</c:v>
                </c:pt>
                <c:pt idx="86">
                  <c:v>6.1732253897203222E-2</c:v>
                </c:pt>
                <c:pt idx="87">
                  <c:v>6.2046953124749969E-2</c:v>
                </c:pt>
                <c:pt idx="88">
                  <c:v>6.236911979159443E-2</c:v>
                </c:pt>
                <c:pt idx="89">
                  <c:v>6.3192671668428624E-2</c:v>
                </c:pt>
                <c:pt idx="90">
                  <c:v>6.4216777629258703E-2</c:v>
                </c:pt>
                <c:pt idx="91">
                  <c:v>6.5151274318516153E-2</c:v>
                </c:pt>
                <c:pt idx="92">
                  <c:v>6.6295926085152265E-2</c:v>
                </c:pt>
                <c:pt idx="93">
                  <c:v>6.6613825643826605E-2</c:v>
                </c:pt>
                <c:pt idx="94">
                  <c:v>6.6799444849227063E-2</c:v>
                </c:pt>
                <c:pt idx="95">
                  <c:v>6.689865511418247E-2</c:v>
                </c:pt>
                <c:pt idx="96">
                  <c:v>6.6959461405606754E-2</c:v>
                </c:pt>
                <c:pt idx="97">
                  <c:v>6.7449112068128647E-2</c:v>
                </c:pt>
                <c:pt idx="98">
                  <c:v>6.8282264938345619E-2</c:v>
                </c:pt>
                <c:pt idx="99">
                  <c:v>6.9661607654338625E-2</c:v>
                </c:pt>
                <c:pt idx="100">
                  <c:v>7.1404721341834829E-2</c:v>
                </c:pt>
                <c:pt idx="101">
                  <c:v>7.2502434918599562E-2</c:v>
                </c:pt>
                <c:pt idx="102">
                  <c:v>7.3051825095503203E-2</c:v>
                </c:pt>
                <c:pt idx="103">
                  <c:v>7.4486640217707845E-2</c:v>
                </c:pt>
                <c:pt idx="104">
                  <c:v>7.603880081459094E-2</c:v>
                </c:pt>
                <c:pt idx="105">
                  <c:v>7.7433078409179387E-2</c:v>
                </c:pt>
                <c:pt idx="106">
                  <c:v>7.9470622560414247E-2</c:v>
                </c:pt>
                <c:pt idx="107">
                  <c:v>8.2268778742973933E-2</c:v>
                </c:pt>
                <c:pt idx="108">
                  <c:v>8.3397428853972083E-2</c:v>
                </c:pt>
                <c:pt idx="109">
                  <c:v>8.4273252805890306E-2</c:v>
                </c:pt>
                <c:pt idx="110">
                  <c:v>8.6554022122822302E-2</c:v>
                </c:pt>
                <c:pt idx="111">
                  <c:v>8.8516891881079945E-2</c:v>
                </c:pt>
                <c:pt idx="112">
                  <c:v>9.0364549718744219E-2</c:v>
                </c:pt>
                <c:pt idx="113">
                  <c:v>9.2541841662550681E-2</c:v>
                </c:pt>
                <c:pt idx="114">
                  <c:v>9.5469077867256655E-2</c:v>
                </c:pt>
                <c:pt idx="115">
                  <c:v>9.6254225770559712E-2</c:v>
                </c:pt>
                <c:pt idx="116">
                  <c:v>9.6782280406612728E-2</c:v>
                </c:pt>
                <c:pt idx="117">
                  <c:v>9.8229896853327739E-2</c:v>
                </c:pt>
                <c:pt idx="118">
                  <c:v>9.9481226324217006E-2</c:v>
                </c:pt>
                <c:pt idx="119">
                  <c:v>0.10103445369814262</c:v>
                </c:pt>
                <c:pt idx="120">
                  <c:v>0.10287677765059423</c:v>
                </c:pt>
                <c:pt idx="121">
                  <c:v>0.10517994928541939</c:v>
                </c:pt>
                <c:pt idx="122">
                  <c:v>0.10583601716657616</c:v>
                </c:pt>
                <c:pt idx="123">
                  <c:v>0.10635980469445903</c:v>
                </c:pt>
                <c:pt idx="124">
                  <c:v>0.10818826054535774</c:v>
                </c:pt>
                <c:pt idx="125">
                  <c:v>0.11029087809618701</c:v>
                </c:pt>
                <c:pt idx="126">
                  <c:v>0.11245110160731296</c:v>
                </c:pt>
                <c:pt idx="127">
                  <c:v>0.11527166010776581</c:v>
                </c:pt>
                <c:pt idx="128">
                  <c:v>0.11827677103657656</c:v>
                </c:pt>
                <c:pt idx="129">
                  <c:v>0.11940648792461725</c:v>
                </c:pt>
                <c:pt idx="130">
                  <c:v>0.12023003980145144</c:v>
                </c:pt>
                <c:pt idx="131">
                  <c:v>0.12254601276078697</c:v>
                </c:pt>
                <c:pt idx="132">
                  <c:v>0.12502520260762978</c:v>
                </c:pt>
                <c:pt idx="133">
                  <c:v>0.12738598020275163</c:v>
                </c:pt>
                <c:pt idx="134">
                  <c:v>0.12994304477369922</c:v>
                </c:pt>
                <c:pt idx="135">
                  <c:v>0.13237316287658563</c:v>
                </c:pt>
                <c:pt idx="136">
                  <c:v>0.13318711376003703</c:v>
                </c:pt>
                <c:pt idx="137">
                  <c:v>0.13384638197232138</c:v>
                </c:pt>
                <c:pt idx="138">
                  <c:v>0.13680028760309065</c:v>
                </c:pt>
                <c:pt idx="139">
                  <c:v>0.14428479533349048</c:v>
                </c:pt>
                <c:pt idx="140">
                  <c:v>0.15929221476782129</c:v>
                </c:pt>
                <c:pt idx="141">
                  <c:v>0.17904572526437401</c:v>
                </c:pt>
                <c:pt idx="142">
                  <c:v>0.19586453211692301</c:v>
                </c:pt>
                <c:pt idx="143">
                  <c:v>0.20599251335871549</c:v>
                </c:pt>
                <c:pt idx="144">
                  <c:v>0.21225982848358707</c:v>
                </c:pt>
                <c:pt idx="145">
                  <c:v>0.22870739692533518</c:v>
                </c:pt>
                <c:pt idx="146">
                  <c:v>0.24624307795046524</c:v>
                </c:pt>
                <c:pt idx="147">
                  <c:v>0.26758181913221951</c:v>
                </c:pt>
                <c:pt idx="148">
                  <c:v>0.28606373139407487</c:v>
                </c:pt>
                <c:pt idx="149">
                  <c:v>0.30498088868928303</c:v>
                </c:pt>
                <c:pt idx="150">
                  <c:v>0.31525395160885977</c:v>
                </c:pt>
                <c:pt idx="151">
                  <c:v>0.32402819278368</c:v>
                </c:pt>
                <c:pt idx="152">
                  <c:v>0.34214100018881949</c:v>
                </c:pt>
                <c:pt idx="153">
                  <c:v>0.35954973474588831</c:v>
                </c:pt>
                <c:pt idx="154">
                  <c:v>0.37479184512957603</c:v>
                </c:pt>
                <c:pt idx="155">
                  <c:v>0.38624689701227749</c:v>
                </c:pt>
                <c:pt idx="156">
                  <c:v>0.40023341081690583</c:v>
                </c:pt>
                <c:pt idx="157">
                  <c:v>0.40619029382240079</c:v>
                </c:pt>
                <c:pt idx="158">
                  <c:v>0.41018003996146796</c:v>
                </c:pt>
                <c:pt idx="159">
                  <c:v>0.41980450243918566</c:v>
                </c:pt>
                <c:pt idx="160">
                  <c:v>0.42853713930934717</c:v>
                </c:pt>
                <c:pt idx="161">
                  <c:v>0.43442041469890746</c:v>
                </c:pt>
                <c:pt idx="162">
                  <c:v>0.44262286337893086</c:v>
                </c:pt>
                <c:pt idx="163">
                  <c:v>0.45082531205895432</c:v>
                </c:pt>
                <c:pt idx="164">
                  <c:v>0.45902776073897772</c:v>
                </c:pt>
                <c:pt idx="165">
                  <c:v>0.46723020941900117</c:v>
                </c:pt>
                <c:pt idx="166">
                  <c:v>0.47543265809902457</c:v>
                </c:pt>
                <c:pt idx="167">
                  <c:v>0.48363510677904803</c:v>
                </c:pt>
                <c:pt idx="168">
                  <c:v>0.49183755545907143</c:v>
                </c:pt>
                <c:pt idx="169">
                  <c:v>0.50004000413909488</c:v>
                </c:pt>
                <c:pt idx="170">
                  <c:v>0.50824245281911828</c:v>
                </c:pt>
                <c:pt idx="171">
                  <c:v>0.51644490149914168</c:v>
                </c:pt>
                <c:pt idx="172">
                  <c:v>0.52464735017916508</c:v>
                </c:pt>
                <c:pt idx="173">
                  <c:v>0.53284979885918859</c:v>
                </c:pt>
                <c:pt idx="174">
                  <c:v>0.54105224753921199</c:v>
                </c:pt>
                <c:pt idx="175">
                  <c:v>0.54925469621923539</c:v>
                </c:pt>
                <c:pt idx="176">
                  <c:v>0.55745714489925879</c:v>
                </c:pt>
                <c:pt idx="177">
                  <c:v>0.5656595935792823</c:v>
                </c:pt>
                <c:pt idx="178">
                  <c:v>0.5738620422593057</c:v>
                </c:pt>
                <c:pt idx="179">
                  <c:v>0.5820644909393291</c:v>
                </c:pt>
                <c:pt idx="180">
                  <c:v>0.5902669396193525</c:v>
                </c:pt>
                <c:pt idx="181">
                  <c:v>0.59846938829937602</c:v>
                </c:pt>
                <c:pt idx="182">
                  <c:v>0.60667183697939941</c:v>
                </c:pt>
                <c:pt idx="183" formatCode="#,##0">
                  <c:v>0.61897497661091327</c:v>
                </c:pt>
                <c:pt idx="184" formatCode="#,##0">
                  <c:v>0.63127811624242713</c:v>
                </c:pt>
                <c:pt idx="185" formatCode="#,##0">
                  <c:v>0.64358125587394099</c:v>
                </c:pt>
                <c:pt idx="186" formatCode="#,##0">
                  <c:v>0.65588439550545485</c:v>
                </c:pt>
                <c:pt idx="187" formatCode="#,##0">
                  <c:v>0.66818753513696871</c:v>
                </c:pt>
                <c:pt idx="188" formatCode="#,##0">
                  <c:v>0.68049067476848257</c:v>
                </c:pt>
                <c:pt idx="189" formatCode="#,##0">
                  <c:v>0.69279381439999654</c:v>
                </c:pt>
                <c:pt idx="190" formatCode="#,##0">
                  <c:v>0.7050969540315104</c:v>
                </c:pt>
                <c:pt idx="191" formatCode="#,##0">
                  <c:v>0.71740009366302426</c:v>
                </c:pt>
                <c:pt idx="192" formatCode="#,##0">
                  <c:v>0.72970323329453812</c:v>
                </c:pt>
                <c:pt idx="193" formatCode="#,##0">
                  <c:v>0.74200637292605198</c:v>
                </c:pt>
                <c:pt idx="194" formatCode="#,##0">
                  <c:v>0.75430951255756584</c:v>
                </c:pt>
                <c:pt idx="195" formatCode="#,##0">
                  <c:v>0.7666126521890797</c:v>
                </c:pt>
                <c:pt idx="196" formatCode="#,##0">
                  <c:v>0.77891579182059356</c:v>
                </c:pt>
                <c:pt idx="197" formatCode="#,##0">
                  <c:v>0.79121893145210753</c:v>
                </c:pt>
                <c:pt idx="198" formatCode="#,##0">
                  <c:v>0.80352207108362139</c:v>
                </c:pt>
                <c:pt idx="199" formatCode="#,##0">
                  <c:v>0.80352207108362139</c:v>
                </c:pt>
                <c:pt idx="200" formatCode="#,##0">
                  <c:v>0.80352207108362139</c:v>
                </c:pt>
                <c:pt idx="201" formatCode="#,##0">
                  <c:v>0.80352207108362139</c:v>
                </c:pt>
                <c:pt idx="202" formatCode="#,##0">
                  <c:v>0.80352207108362139</c:v>
                </c:pt>
                <c:pt idx="203" formatCode="#,##0">
                  <c:v>0.80352207108362139</c:v>
                </c:pt>
                <c:pt idx="204" formatCode="#,##0">
                  <c:v>0.80352207108362139</c:v>
                </c:pt>
                <c:pt idx="205" formatCode="#,##0">
                  <c:v>0.80352207108362139</c:v>
                </c:pt>
                <c:pt idx="206" formatCode="#,##0">
                  <c:v>0.80352207108362139</c:v>
                </c:pt>
                <c:pt idx="207" formatCode="#,##0">
                  <c:v>0.80352207108362139</c:v>
                </c:pt>
                <c:pt idx="208" formatCode="#,##0">
                  <c:v>0.80352207108362139</c:v>
                </c:pt>
                <c:pt idx="209" formatCode="#,##0">
                  <c:v>0.80352207108362139</c:v>
                </c:pt>
                <c:pt idx="210" formatCode="#,##0">
                  <c:v>0.80352207108362139</c:v>
                </c:pt>
                <c:pt idx="211" formatCode="#,##0">
                  <c:v>0.80352207108362139</c:v>
                </c:pt>
                <c:pt idx="212" formatCode="#,##0">
                  <c:v>0.80352207108362139</c:v>
                </c:pt>
                <c:pt idx="213" formatCode="#,##0">
                  <c:v>0.80352207108362139</c:v>
                </c:pt>
                <c:pt idx="214" formatCode="#,##0">
                  <c:v>0.80352207108362139</c:v>
                </c:pt>
                <c:pt idx="215" formatCode="#,##0">
                  <c:v>0.80352207108362139</c:v>
                </c:pt>
                <c:pt idx="216" formatCode="#,##0">
                  <c:v>0.80352207108362139</c:v>
                </c:pt>
                <c:pt idx="217" formatCode="#,##0">
                  <c:v>0.80352207108362139</c:v>
                </c:pt>
                <c:pt idx="218" formatCode="#,##0">
                  <c:v>0.80352207108362139</c:v>
                </c:pt>
                <c:pt idx="219" formatCode="#,##0">
                  <c:v>0.80352207108362139</c:v>
                </c:pt>
                <c:pt idx="220" formatCode="#,##0">
                  <c:v>0.80352207108362139</c:v>
                </c:pt>
                <c:pt idx="221" formatCode="#,##0">
                  <c:v>0.80352207108362139</c:v>
                </c:pt>
                <c:pt idx="222" formatCode="#,##0">
                  <c:v>0.80352207108362139</c:v>
                </c:pt>
                <c:pt idx="223" formatCode="#,##0">
                  <c:v>0.80352207108362139</c:v>
                </c:pt>
                <c:pt idx="224" formatCode="#,##0">
                  <c:v>0.80352207108362139</c:v>
                </c:pt>
                <c:pt idx="225" formatCode="#,##0">
                  <c:v>0.80352207108362139</c:v>
                </c:pt>
                <c:pt idx="226" formatCode="#,##0">
                  <c:v>0.80352207108362139</c:v>
                </c:pt>
                <c:pt idx="227" formatCode="#,##0">
                  <c:v>0.80352207108362139</c:v>
                </c:pt>
                <c:pt idx="228" formatCode="#,##0">
                  <c:v>0.80352207108362139</c:v>
                </c:pt>
                <c:pt idx="229" formatCode="#,##0">
                  <c:v>0.80352207108362139</c:v>
                </c:pt>
                <c:pt idx="230" formatCode="#,##0">
                  <c:v>0.80352207108362139</c:v>
                </c:pt>
                <c:pt idx="231" formatCode="#,##0">
                  <c:v>0.80352207108362139</c:v>
                </c:pt>
                <c:pt idx="232" formatCode="#,##0">
                  <c:v>0.80352207108362139</c:v>
                </c:pt>
                <c:pt idx="233" formatCode="#,##0">
                  <c:v>0.80352207108362139</c:v>
                </c:pt>
                <c:pt idx="234" formatCode="#,##0">
                  <c:v>0.80352207108362139</c:v>
                </c:pt>
                <c:pt idx="235" formatCode="#,##0">
                  <c:v>0.80352207108362139</c:v>
                </c:pt>
                <c:pt idx="236" formatCode="#,##0">
                  <c:v>0.80352207108362139</c:v>
                </c:pt>
                <c:pt idx="237" formatCode="#,##0">
                  <c:v>0.80352207108362139</c:v>
                </c:pt>
                <c:pt idx="238" formatCode="#,##0">
                  <c:v>0.80352207108362139</c:v>
                </c:pt>
                <c:pt idx="239" formatCode="#,##0">
                  <c:v>0.80352207108362139</c:v>
                </c:pt>
                <c:pt idx="240" formatCode="#,##0">
                  <c:v>0.80352207108362139</c:v>
                </c:pt>
                <c:pt idx="241" formatCode="#,##0">
                  <c:v>0.80352207108362139</c:v>
                </c:pt>
                <c:pt idx="242" formatCode="#,##0">
                  <c:v>0.80352207108362139</c:v>
                </c:pt>
                <c:pt idx="243" formatCode="#,##0">
                  <c:v>0.80352207108362139</c:v>
                </c:pt>
                <c:pt idx="244" formatCode="#,##0">
                  <c:v>0.803522071083621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F267-42C6-AC42-927B0F02AEC7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10 45-49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H$5:$H$249</c:f>
              <c:numCache>
                <c:formatCode>0.00%</c:formatCode>
                <c:ptCount val="245"/>
                <c:pt idx="0">
                  <c:v>1.7915340486763618E-3</c:v>
                </c:pt>
                <c:pt idx="1">
                  <c:v>2.0024522416410965E-3</c:v>
                </c:pt>
                <c:pt idx="2">
                  <c:v>2.0545464941203384E-3</c:v>
                </c:pt>
                <c:pt idx="3">
                  <c:v>2.3048530243254756E-3</c:v>
                </c:pt>
                <c:pt idx="4">
                  <c:v>2.4814652461453437E-3</c:v>
                </c:pt>
                <c:pt idx="5">
                  <c:v>3.2184083299980314E-3</c:v>
                </c:pt>
                <c:pt idx="6">
                  <c:v>4.101469439097373E-3</c:v>
                </c:pt>
                <c:pt idx="7">
                  <c:v>5.2882019224049772E-3</c:v>
                </c:pt>
                <c:pt idx="8">
                  <c:v>6.7557351324909328E-3</c:v>
                </c:pt>
                <c:pt idx="9">
                  <c:v>8.6273164471719829E-3</c:v>
                </c:pt>
                <c:pt idx="10">
                  <c:v>8.9703761586206483E-3</c:v>
                </c:pt>
                <c:pt idx="11">
                  <c:v>9.2549886599706515E-3</c:v>
                </c:pt>
                <c:pt idx="12">
                  <c:v>1.1078287496744112E-2</c:v>
                </c:pt>
                <c:pt idx="13">
                  <c:v>1.3399658210880079E-2</c:v>
                </c:pt>
                <c:pt idx="14">
                  <c:v>1.5557122618435016E-2</c:v>
                </c:pt>
                <c:pt idx="15">
                  <c:v>1.7930587585050225E-2</c:v>
                </c:pt>
                <c:pt idx="16">
                  <c:v>1.9954639882597349E-2</c:v>
                </c:pt>
                <c:pt idx="17">
                  <c:v>2.0221464102612979E-2</c:v>
                </c:pt>
                <c:pt idx="18">
                  <c:v>2.0352335029573024E-2</c:v>
                </c:pt>
                <c:pt idx="19">
                  <c:v>2.1710597368604961E-2</c:v>
                </c:pt>
                <c:pt idx="20">
                  <c:v>2.3010412497538237E-2</c:v>
                </c:pt>
                <c:pt idx="21">
                  <c:v>2.4258133373992269E-2</c:v>
                </c:pt>
                <c:pt idx="22">
                  <c:v>2.5505854250446304E-2</c:v>
                </c:pt>
                <c:pt idx="23">
                  <c:v>2.6601104144034264E-2</c:v>
                </c:pt>
                <c:pt idx="24">
                  <c:v>2.6715457381183819E-2</c:v>
                </c:pt>
                <c:pt idx="25">
                  <c:v>2.6776445774330249E-2</c:v>
                </c:pt>
                <c:pt idx="26">
                  <c:v>2.7369812015984051E-2</c:v>
                </c:pt>
                <c:pt idx="27">
                  <c:v>2.8019084284688744E-2</c:v>
                </c:pt>
                <c:pt idx="28">
                  <c:v>2.8634050582248573E-2</c:v>
                </c:pt>
                <c:pt idx="29">
                  <c:v>2.9082569390179606E-2</c:v>
                </c:pt>
                <c:pt idx="30">
                  <c:v>2.9533629381158406E-2</c:v>
                </c:pt>
                <c:pt idx="31">
                  <c:v>2.9553958845540549E-2</c:v>
                </c:pt>
                <c:pt idx="32">
                  <c:v>2.9574288309922692E-2</c:v>
                </c:pt>
                <c:pt idx="33">
                  <c:v>2.9794100643554616E-2</c:v>
                </c:pt>
                <c:pt idx="34">
                  <c:v>3.007871314490462E-2</c:v>
                </c:pt>
                <c:pt idx="35">
                  <c:v>3.0393819842827838E-2</c:v>
                </c:pt>
                <c:pt idx="36">
                  <c:v>3.0659373471319581E-2</c:v>
                </c:pt>
                <c:pt idx="37">
                  <c:v>3.0994809633624942E-2</c:v>
                </c:pt>
                <c:pt idx="38">
                  <c:v>3.1004974365816014E-2</c:v>
                </c:pt>
                <c:pt idx="39">
                  <c:v>3.1016409689530969E-2</c:v>
                </c:pt>
                <c:pt idx="40">
                  <c:v>3.1238763206210659E-2</c:v>
                </c:pt>
                <c:pt idx="41">
                  <c:v>3.1594528832898164E-2</c:v>
                </c:pt>
                <c:pt idx="42">
                  <c:v>3.2058294739115804E-2</c:v>
                </c:pt>
                <c:pt idx="43">
                  <c:v>3.2576696080860452E-2</c:v>
                </c:pt>
                <c:pt idx="44">
                  <c:v>3.3054438493840814E-2</c:v>
                </c:pt>
                <c:pt idx="45">
                  <c:v>3.3145921083560459E-2</c:v>
                </c:pt>
                <c:pt idx="46">
                  <c:v>3.318022705470533E-2</c:v>
                </c:pt>
                <c:pt idx="47">
                  <c:v>3.3602063440634794E-2</c:v>
                </c:pt>
                <c:pt idx="48">
                  <c:v>3.4045499882470291E-2</c:v>
                </c:pt>
                <c:pt idx="49">
                  <c:v>3.4585501280120973E-2</c:v>
                </c:pt>
                <c:pt idx="50">
                  <c:v>3.5302114899591515E-2</c:v>
                </c:pt>
                <c:pt idx="51">
                  <c:v>3.6073363954589072E-2</c:v>
                </c:pt>
                <c:pt idx="52">
                  <c:v>3.6195340740881932E-2</c:v>
                </c:pt>
                <c:pt idx="53">
                  <c:v>3.6265223274695543E-2</c:v>
                </c:pt>
                <c:pt idx="54">
                  <c:v>3.681665999606118E-2</c:v>
                </c:pt>
                <c:pt idx="55">
                  <c:v>3.7647626852681276E-2</c:v>
                </c:pt>
                <c:pt idx="56">
                  <c:v>3.8535770327876154E-2</c:v>
                </c:pt>
                <c:pt idx="57">
                  <c:v>3.975553819080474E-2</c:v>
                </c:pt>
                <c:pt idx="58">
                  <c:v>4.0825376253915024E-2</c:v>
                </c:pt>
                <c:pt idx="59">
                  <c:v>4.0988011968972164E-2</c:v>
                </c:pt>
                <c:pt idx="60">
                  <c:v>4.1160812416220383E-2</c:v>
                </c:pt>
                <c:pt idx="61">
                  <c:v>4.2749051821075315E-2</c:v>
                </c:pt>
                <c:pt idx="62">
                  <c:v>4.4891269130343643E-2</c:v>
                </c:pt>
                <c:pt idx="63">
                  <c:v>4.7332075447724699E-2</c:v>
                </c:pt>
                <c:pt idx="64">
                  <c:v>4.9582293036523166E-2</c:v>
                </c:pt>
                <c:pt idx="65">
                  <c:v>5.1584745278164264E-2</c:v>
                </c:pt>
                <c:pt idx="66">
                  <c:v>5.2383947346687262E-2</c:v>
                </c:pt>
                <c:pt idx="67">
                  <c:v>5.3348326313315181E-2</c:v>
                </c:pt>
                <c:pt idx="68">
                  <c:v>5.5259295965236634E-2</c:v>
                </c:pt>
                <c:pt idx="69">
                  <c:v>5.7932620531488455E-2</c:v>
                </c:pt>
                <c:pt idx="70">
                  <c:v>5.9923637449414591E-2</c:v>
                </c:pt>
                <c:pt idx="71">
                  <c:v>6.2332678978698548E-2</c:v>
                </c:pt>
                <c:pt idx="72">
                  <c:v>6.4666755608073362E-2</c:v>
                </c:pt>
                <c:pt idx="73">
                  <c:v>6.5830617443951051E-2</c:v>
                </c:pt>
                <c:pt idx="74">
                  <c:v>6.6504030951609547E-2</c:v>
                </c:pt>
                <c:pt idx="75">
                  <c:v>6.8083376215797284E-2</c:v>
                </c:pt>
                <c:pt idx="76">
                  <c:v>7.053942963146495E-2</c:v>
                </c:pt>
                <c:pt idx="77">
                  <c:v>7.2512658268056709E-2</c:v>
                </c:pt>
                <c:pt idx="78">
                  <c:v>7.4416004370834871E-2</c:v>
                </c:pt>
                <c:pt idx="79">
                  <c:v>7.6493421512385112E-2</c:v>
                </c:pt>
                <c:pt idx="80">
                  <c:v>7.7295164763955884E-2</c:v>
                </c:pt>
                <c:pt idx="81">
                  <c:v>7.7677612812644944E-2</c:v>
                </c:pt>
                <c:pt idx="82">
                  <c:v>7.9131169515968186E-2</c:v>
                </c:pt>
                <c:pt idx="83">
                  <c:v>8.0662232302248338E-2</c:v>
                </c:pt>
                <c:pt idx="84">
                  <c:v>8.2147553793668671E-2</c:v>
                </c:pt>
                <c:pt idx="85">
                  <c:v>8.3681157762996589E-2</c:v>
                </c:pt>
                <c:pt idx="86">
                  <c:v>8.5529868430247721E-2</c:v>
                </c:pt>
                <c:pt idx="87">
                  <c:v>8.5898339972174068E-2</c:v>
                </c:pt>
                <c:pt idx="88">
                  <c:v>8.6404035398679885E-2</c:v>
                </c:pt>
                <c:pt idx="89">
                  <c:v>8.7603473797226328E-2</c:v>
                </c:pt>
                <c:pt idx="90">
                  <c:v>8.9495384576289513E-2</c:v>
                </c:pt>
                <c:pt idx="91">
                  <c:v>9.1012470855806951E-2</c:v>
                </c:pt>
                <c:pt idx="92">
                  <c:v>9.2557510148849831E-2</c:v>
                </c:pt>
                <c:pt idx="93">
                  <c:v>9.296664061954045E-2</c:v>
                </c:pt>
                <c:pt idx="94">
                  <c:v>9.3216947149745585E-2</c:v>
                </c:pt>
                <c:pt idx="95">
                  <c:v>9.3357982808896706E-2</c:v>
                </c:pt>
                <c:pt idx="96">
                  <c:v>9.3459630130807422E-2</c:v>
                </c:pt>
                <c:pt idx="97">
                  <c:v>9.4346503014478417E-2</c:v>
                </c:pt>
                <c:pt idx="98">
                  <c:v>9.5819118590659905E-2</c:v>
                </c:pt>
                <c:pt idx="99">
                  <c:v>9.7869853310208602E-2</c:v>
                </c:pt>
                <c:pt idx="100">
                  <c:v>0.1006473663814189</c:v>
                </c:pt>
                <c:pt idx="101">
                  <c:v>0.10179852230205776</c:v>
                </c:pt>
                <c:pt idx="102">
                  <c:v>0.10243762983857138</c:v>
                </c:pt>
                <c:pt idx="103">
                  <c:v>0.10452139993774105</c:v>
                </c:pt>
                <c:pt idx="104">
                  <c:v>0.10669538203510648</c:v>
                </c:pt>
                <c:pt idx="105">
                  <c:v>0.10896465849676321</c:v>
                </c:pt>
                <c:pt idx="106">
                  <c:v>0.11172311269511524</c:v>
                </c:pt>
                <c:pt idx="107">
                  <c:v>0.11567211115134654</c:v>
                </c:pt>
                <c:pt idx="108">
                  <c:v>0.11711677371400259</c:v>
                </c:pt>
                <c:pt idx="109">
                  <c:v>0.11821710597368608</c:v>
                </c:pt>
                <c:pt idx="110">
                  <c:v>0.12112548997185643</c:v>
                </c:pt>
                <c:pt idx="111">
                  <c:v>0.12385344997363526</c:v>
                </c:pt>
                <c:pt idx="112">
                  <c:v>0.12674023391589959</c:v>
                </c:pt>
                <c:pt idx="113">
                  <c:v>0.12970579453264472</c:v>
                </c:pt>
                <c:pt idx="114">
                  <c:v>0.13322152127923159</c:v>
                </c:pt>
                <c:pt idx="115">
                  <c:v>0.13449719516921108</c:v>
                </c:pt>
                <c:pt idx="116">
                  <c:v>0.13538025627831041</c:v>
                </c:pt>
                <c:pt idx="117">
                  <c:v>0.13748181465881446</c:v>
                </c:pt>
                <c:pt idx="118">
                  <c:v>0.1393305253260656</c:v>
                </c:pt>
                <c:pt idx="119">
                  <c:v>0.14166841373001204</c:v>
                </c:pt>
                <c:pt idx="120">
                  <c:v>0.14413717306091856</c:v>
                </c:pt>
                <c:pt idx="121">
                  <c:v>0.14732762837739113</c:v>
                </c:pt>
                <c:pt idx="122">
                  <c:v>0.14813191281200969</c:v>
                </c:pt>
                <c:pt idx="123">
                  <c:v>0.14889172654329227</c:v>
                </c:pt>
                <c:pt idx="124">
                  <c:v>0.15168321612126531</c:v>
                </c:pt>
                <c:pt idx="125">
                  <c:v>0.15475169465144503</c:v>
                </c:pt>
                <c:pt idx="126">
                  <c:v>0.1580374443322089</c:v>
                </c:pt>
                <c:pt idx="127">
                  <c:v>0.16206776064596878</c:v>
                </c:pt>
                <c:pt idx="128">
                  <c:v>0.16642334838984293</c:v>
                </c:pt>
                <c:pt idx="129">
                  <c:v>0.16790994047278715</c:v>
                </c:pt>
                <c:pt idx="130">
                  <c:v>0.16893276664951373</c:v>
                </c:pt>
                <c:pt idx="131">
                  <c:v>0.17225536348447024</c:v>
                </c:pt>
                <c:pt idx="132">
                  <c:v>0.17786883683698951</c:v>
                </c:pt>
                <c:pt idx="133">
                  <c:v>0.19189616726066827</c:v>
                </c:pt>
                <c:pt idx="134">
                  <c:v>0.21783529322075898</c:v>
                </c:pt>
                <c:pt idx="135">
                  <c:v>0.24395484317724123</c:v>
                </c:pt>
                <c:pt idx="136">
                  <c:v>0.25719694803915971</c:v>
                </c:pt>
                <c:pt idx="137">
                  <c:v>0.26884954290469937</c:v>
                </c:pt>
                <c:pt idx="138">
                  <c:v>0.30902437629838581</c:v>
                </c:pt>
                <c:pt idx="139">
                  <c:v>0.34335830045677773</c:v>
                </c:pt>
                <c:pt idx="140">
                  <c:v>0.37748765937982437</c:v>
                </c:pt>
                <c:pt idx="141">
                  <c:v>0.40614331001797899</c:v>
                </c:pt>
                <c:pt idx="142">
                  <c:v>0.43466808972917353</c:v>
                </c:pt>
                <c:pt idx="143">
                  <c:v>0.44735240491210698</c:v>
                </c:pt>
                <c:pt idx="144">
                  <c:v>0.45646381672987874</c:v>
                </c:pt>
                <c:pt idx="145">
                  <c:v>0.47206922182622135</c:v>
                </c:pt>
                <c:pt idx="146">
                  <c:v>0.48569123355378113</c:v>
                </c:pt>
                <c:pt idx="147">
                  <c:v>0.50208948776102724</c:v>
                </c:pt>
                <c:pt idx="148">
                  <c:v>0.515120674429981</c:v>
                </c:pt>
                <c:pt idx="149">
                  <c:v>0.52931318175176467</c:v>
                </c:pt>
                <c:pt idx="150">
                  <c:v>0.53582369272014607</c:v>
                </c:pt>
                <c:pt idx="151">
                  <c:v>0.54136982472189943</c:v>
                </c:pt>
                <c:pt idx="152">
                  <c:v>0.55094373185436496</c:v>
                </c:pt>
                <c:pt idx="153">
                  <c:v>0.5601542498109997</c:v>
                </c:pt>
                <c:pt idx="154">
                  <c:v>0.56944989739973462</c:v>
                </c:pt>
                <c:pt idx="155">
                  <c:v>0.57768078929145483</c:v>
                </c:pt>
                <c:pt idx="156">
                  <c:v>0.58712001372238865</c:v>
                </c:pt>
                <c:pt idx="157">
                  <c:v>0.59142858957987909</c:v>
                </c:pt>
                <c:pt idx="158">
                  <c:v>0.59411207887832196</c:v>
                </c:pt>
                <c:pt idx="159">
                  <c:v>0.60080936680071428</c:v>
                </c:pt>
                <c:pt idx="160">
                  <c:v>0.60721060689804152</c:v>
                </c:pt>
                <c:pt idx="161">
                  <c:v>0.61159923002153671</c:v>
                </c:pt>
                <c:pt idx="162">
                  <c:v>0.61699034985737633</c:v>
                </c:pt>
                <c:pt idx="163">
                  <c:v>0.62238146969321584</c:v>
                </c:pt>
                <c:pt idx="164">
                  <c:v>0.62777258952905546</c:v>
                </c:pt>
                <c:pt idx="165">
                  <c:v>0.63316370936489497</c:v>
                </c:pt>
                <c:pt idx="166">
                  <c:v>0.63855482920073459</c:v>
                </c:pt>
                <c:pt idx="167">
                  <c:v>0.64394594903657421</c:v>
                </c:pt>
                <c:pt idx="168">
                  <c:v>0.64933706887241371</c:v>
                </c:pt>
                <c:pt idx="169">
                  <c:v>0.65472818870825333</c:v>
                </c:pt>
                <c:pt idx="170">
                  <c:v>0.66011930854409295</c:v>
                </c:pt>
                <c:pt idx="171">
                  <c:v>0.66551042837993246</c:v>
                </c:pt>
                <c:pt idx="172">
                  <c:v>0.67090154821577208</c:v>
                </c:pt>
                <c:pt idx="173">
                  <c:v>0.67629266805161159</c:v>
                </c:pt>
                <c:pt idx="174">
                  <c:v>0.68168378788745121</c:v>
                </c:pt>
                <c:pt idx="175">
                  <c:v>0.68707490772329083</c:v>
                </c:pt>
                <c:pt idx="176">
                  <c:v>0.69246602755913034</c:v>
                </c:pt>
                <c:pt idx="177">
                  <c:v>0.69785714739496996</c:v>
                </c:pt>
                <c:pt idx="178">
                  <c:v>0.70324826723080947</c:v>
                </c:pt>
                <c:pt idx="179">
                  <c:v>0.70863938706664908</c:v>
                </c:pt>
                <c:pt idx="180">
                  <c:v>0.7140305069024887</c:v>
                </c:pt>
                <c:pt idx="181">
                  <c:v>0.71942162673832821</c:v>
                </c:pt>
                <c:pt idx="182">
                  <c:v>0.72481274657416783</c:v>
                </c:pt>
                <c:pt idx="183" formatCode="#,##0">
                  <c:v>0.73289879103216526</c:v>
                </c:pt>
                <c:pt idx="184" formatCode="#,##0">
                  <c:v>0.7409848354901627</c:v>
                </c:pt>
                <c:pt idx="185" formatCode="#,##0">
                  <c:v>0.74907087994816013</c:v>
                </c:pt>
                <c:pt idx="186" formatCode="#,##0">
                  <c:v>0.75715692440615756</c:v>
                </c:pt>
                <c:pt idx="187" formatCode="#,##0">
                  <c:v>0.76524296886415488</c:v>
                </c:pt>
                <c:pt idx="188" formatCode="#,##0">
                  <c:v>0.77332901332215231</c:v>
                </c:pt>
                <c:pt idx="189" formatCode="#,##0">
                  <c:v>0.78141505778014975</c:v>
                </c:pt>
                <c:pt idx="190" formatCode="#,##0">
                  <c:v>0.78950110223814718</c:v>
                </c:pt>
                <c:pt idx="191" formatCode="#,##0">
                  <c:v>0.79758714669614461</c:v>
                </c:pt>
                <c:pt idx="192" formatCode="#,##0">
                  <c:v>0.80567319115414204</c:v>
                </c:pt>
                <c:pt idx="193" formatCode="#,##0">
                  <c:v>0.80567319115414204</c:v>
                </c:pt>
                <c:pt idx="194" formatCode="#,##0">
                  <c:v>0.80567319115414204</c:v>
                </c:pt>
                <c:pt idx="195" formatCode="#,##0">
                  <c:v>0.80567319115414204</c:v>
                </c:pt>
                <c:pt idx="196" formatCode="#,##0">
                  <c:v>0.80567319115414204</c:v>
                </c:pt>
                <c:pt idx="197" formatCode="#,##0">
                  <c:v>0.80567319115414204</c:v>
                </c:pt>
                <c:pt idx="198" formatCode="#,##0">
                  <c:v>0.80567319115414204</c:v>
                </c:pt>
                <c:pt idx="199" formatCode="#,##0">
                  <c:v>0.80567319115414204</c:v>
                </c:pt>
                <c:pt idx="200" formatCode="#,##0">
                  <c:v>0.80567319115414204</c:v>
                </c:pt>
                <c:pt idx="201" formatCode="#,##0">
                  <c:v>0.80567319115414204</c:v>
                </c:pt>
                <c:pt idx="202" formatCode="#,##0">
                  <c:v>0.80567319115414204</c:v>
                </c:pt>
                <c:pt idx="203" formatCode="#,##0">
                  <c:v>0.80567319115414204</c:v>
                </c:pt>
                <c:pt idx="204" formatCode="#,##0">
                  <c:v>0.80567319115414204</c:v>
                </c:pt>
                <c:pt idx="205" formatCode="#,##0">
                  <c:v>0.80567319115414204</c:v>
                </c:pt>
                <c:pt idx="206" formatCode="#,##0">
                  <c:v>0.80567319115414204</c:v>
                </c:pt>
                <c:pt idx="207" formatCode="#,##0">
                  <c:v>0.80567319115414204</c:v>
                </c:pt>
                <c:pt idx="208" formatCode="#,##0">
                  <c:v>0.80567319115414204</c:v>
                </c:pt>
                <c:pt idx="209" formatCode="#,##0">
                  <c:v>0.80567319115414204</c:v>
                </c:pt>
                <c:pt idx="210" formatCode="#,##0">
                  <c:v>0.80567319115414204</c:v>
                </c:pt>
                <c:pt idx="211" formatCode="#,##0">
                  <c:v>0.80567319115414204</c:v>
                </c:pt>
                <c:pt idx="212" formatCode="#,##0">
                  <c:v>0.80567319115414204</c:v>
                </c:pt>
                <c:pt idx="213" formatCode="#,##0">
                  <c:v>0.80567319115414204</c:v>
                </c:pt>
                <c:pt idx="214" formatCode="#,##0">
                  <c:v>0.80567319115414204</c:v>
                </c:pt>
                <c:pt idx="215" formatCode="#,##0">
                  <c:v>0.80567319115414204</c:v>
                </c:pt>
                <c:pt idx="216" formatCode="#,##0">
                  <c:v>0.80567319115414204</c:v>
                </c:pt>
                <c:pt idx="217" formatCode="#,##0">
                  <c:v>0.80567319115414204</c:v>
                </c:pt>
                <c:pt idx="218" formatCode="#,##0">
                  <c:v>0.80567319115414204</c:v>
                </c:pt>
                <c:pt idx="219" formatCode="#,##0">
                  <c:v>0.80567319115414204</c:v>
                </c:pt>
                <c:pt idx="220" formatCode="#,##0">
                  <c:v>0.80567319115414204</c:v>
                </c:pt>
                <c:pt idx="221" formatCode="#,##0">
                  <c:v>0.80567319115414204</c:v>
                </c:pt>
                <c:pt idx="222" formatCode="#,##0">
                  <c:v>0.80567319115414204</c:v>
                </c:pt>
                <c:pt idx="223" formatCode="#,##0">
                  <c:v>0.80567319115414204</c:v>
                </c:pt>
                <c:pt idx="224" formatCode="#,##0">
                  <c:v>0.80567319115414204</c:v>
                </c:pt>
                <c:pt idx="225" formatCode="#,##0">
                  <c:v>0.80567319115414204</c:v>
                </c:pt>
                <c:pt idx="226" formatCode="#,##0">
                  <c:v>0.80567319115414204</c:v>
                </c:pt>
                <c:pt idx="227" formatCode="#,##0">
                  <c:v>0.80567319115414204</c:v>
                </c:pt>
                <c:pt idx="228" formatCode="#,##0">
                  <c:v>0.80567319115414204</c:v>
                </c:pt>
                <c:pt idx="229" formatCode="#,##0">
                  <c:v>0.80567319115414204</c:v>
                </c:pt>
                <c:pt idx="230" formatCode="#,##0">
                  <c:v>0.80567319115414204</c:v>
                </c:pt>
                <c:pt idx="231" formatCode="#,##0">
                  <c:v>0.80567319115414204</c:v>
                </c:pt>
                <c:pt idx="232" formatCode="#,##0">
                  <c:v>0.80567319115414204</c:v>
                </c:pt>
                <c:pt idx="233" formatCode="#,##0">
                  <c:v>0.80567319115414204</c:v>
                </c:pt>
                <c:pt idx="234" formatCode="#,##0">
                  <c:v>0.80567319115414204</c:v>
                </c:pt>
                <c:pt idx="235" formatCode="#,##0">
                  <c:v>0.80567319115414204</c:v>
                </c:pt>
                <c:pt idx="236" formatCode="#,##0">
                  <c:v>0.80567319115414204</c:v>
                </c:pt>
                <c:pt idx="237" formatCode="#,##0">
                  <c:v>0.80567319115414204</c:v>
                </c:pt>
                <c:pt idx="238" formatCode="#,##0">
                  <c:v>0.80567319115414204</c:v>
                </c:pt>
                <c:pt idx="239" formatCode="#,##0">
                  <c:v>0.80567319115414204</c:v>
                </c:pt>
                <c:pt idx="240" formatCode="#,##0">
                  <c:v>0.80567319115414204</c:v>
                </c:pt>
                <c:pt idx="241" formatCode="#,##0">
                  <c:v>0.80567319115414204</c:v>
                </c:pt>
                <c:pt idx="242" formatCode="#,##0">
                  <c:v>0.80567319115414204</c:v>
                </c:pt>
                <c:pt idx="243" formatCode="#,##0">
                  <c:v>0.80567319115414204</c:v>
                </c:pt>
                <c:pt idx="244" formatCode="#,##0">
                  <c:v>0.805673191154142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3-F267-42C6-AC42-927B0F02AEC7}"/>
            </c:ext>
          </c:extLst>
        </c:ser>
        <c:ser>
          <c:idx val="7"/>
          <c:order val="7"/>
          <c:tx>
            <c:strRef>
              <c:f>List1!$I$1</c:f>
              <c:strCache>
                <c:ptCount val="1"/>
                <c:pt idx="0">
                  <c:v>11 50-54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I$5:$I$249</c:f>
              <c:numCache>
                <c:formatCode>0.00%</c:formatCode>
                <c:ptCount val="245"/>
                <c:pt idx="0">
                  <c:v>1.5997872730925038E-3</c:v>
                </c:pt>
                <c:pt idx="1">
                  <c:v>1.7732059476824771E-3</c:v>
                </c:pt>
                <c:pt idx="2">
                  <c:v>1.8208960831947198E-3</c:v>
                </c:pt>
                <c:pt idx="3">
                  <c:v>2.0289984927026878E-3</c:v>
                </c:pt>
                <c:pt idx="4">
                  <c:v>2.1894107666984132E-3</c:v>
                </c:pt>
                <c:pt idx="5">
                  <c:v>2.7862600384122378E-3</c:v>
                </c:pt>
                <c:pt idx="6">
                  <c:v>3.6042181202282785E-3</c:v>
                </c:pt>
                <c:pt idx="7">
                  <c:v>4.6389495452817857E-3</c:v>
                </c:pt>
                <c:pt idx="8">
                  <c:v>5.9728281840029972E-3</c:v>
                </c:pt>
                <c:pt idx="9">
                  <c:v>7.5870670133113324E-3</c:v>
                </c:pt>
                <c:pt idx="10">
                  <c:v>7.8659820482768726E-3</c:v>
                </c:pt>
                <c:pt idx="11">
                  <c:v>8.1362261495129141E-3</c:v>
                </c:pt>
                <c:pt idx="12">
                  <c:v>9.6753168864989279E-3</c:v>
                </c:pt>
                <c:pt idx="13">
                  <c:v>1.1578586840123884E-2</c:v>
                </c:pt>
                <c:pt idx="14">
                  <c:v>1.3645159378987734E-2</c:v>
                </c:pt>
                <c:pt idx="15">
                  <c:v>1.5818673433848733E-2</c:v>
                </c:pt>
                <c:pt idx="16">
                  <c:v>1.7908368462657909E-2</c:v>
                </c:pt>
                <c:pt idx="17">
                  <c:v>1.8213296298811948E-2</c:v>
                </c:pt>
                <c:pt idx="18">
                  <c:v>1.8339024837889677E-2</c:v>
                </c:pt>
                <c:pt idx="19">
                  <c:v>1.9651226142287141E-2</c:v>
                </c:pt>
                <c:pt idx="20">
                  <c:v>2.0911401844307616E-2</c:v>
                </c:pt>
                <c:pt idx="21">
                  <c:v>2.2220712837461912E-2</c:v>
                </c:pt>
                <c:pt idx="22">
                  <c:v>2.3540139919967295E-2</c:v>
                </c:pt>
                <c:pt idx="23">
                  <c:v>2.4540187610102807E-2</c:v>
                </c:pt>
                <c:pt idx="24">
                  <c:v>2.4678922549774784E-2</c:v>
                </c:pt>
                <c:pt idx="25">
                  <c:v>2.4738173930259691E-2</c:v>
                </c:pt>
                <c:pt idx="26">
                  <c:v>2.5288778222082857E-2</c:v>
                </c:pt>
                <c:pt idx="27">
                  <c:v>2.6012801188495995E-2</c:v>
                </c:pt>
                <c:pt idx="28">
                  <c:v>2.6598089215237156E-2</c:v>
                </c:pt>
                <c:pt idx="29">
                  <c:v>2.6995507011172513E-2</c:v>
                </c:pt>
                <c:pt idx="30">
                  <c:v>2.7408821518945282E-2</c:v>
                </c:pt>
                <c:pt idx="31">
                  <c:v>2.7430498853269029E-2</c:v>
                </c:pt>
                <c:pt idx="32">
                  <c:v>2.7446395565106443E-2</c:v>
                </c:pt>
                <c:pt idx="33">
                  <c:v>2.768629139828924E-2</c:v>
                </c:pt>
                <c:pt idx="34">
                  <c:v>2.7943529098931032E-2</c:v>
                </c:pt>
                <c:pt idx="35">
                  <c:v>2.8245566623841901E-2</c:v>
                </c:pt>
                <c:pt idx="36">
                  <c:v>2.8507139791348446E-2</c:v>
                </c:pt>
                <c:pt idx="37">
                  <c:v>2.8794725760043483E-2</c:v>
                </c:pt>
                <c:pt idx="38">
                  <c:v>2.8807732160637731E-2</c:v>
                </c:pt>
                <c:pt idx="39">
                  <c:v>2.8822183716853564E-2</c:v>
                </c:pt>
                <c:pt idx="40">
                  <c:v>2.9015834570145702E-2</c:v>
                </c:pt>
                <c:pt idx="41">
                  <c:v>2.9310646316948654E-2</c:v>
                </c:pt>
                <c:pt idx="42">
                  <c:v>2.9722515669099843E-2</c:v>
                </c:pt>
                <c:pt idx="43">
                  <c:v>3.0182075156763272E-2</c:v>
                </c:pt>
                <c:pt idx="44">
                  <c:v>3.0667647445615197E-2</c:v>
                </c:pt>
                <c:pt idx="45">
                  <c:v>3.0767363183504433E-2</c:v>
                </c:pt>
                <c:pt idx="46">
                  <c:v>3.0848291898313087E-2</c:v>
                </c:pt>
                <c:pt idx="47">
                  <c:v>3.1216806581816779E-2</c:v>
                </c:pt>
                <c:pt idx="48">
                  <c:v>3.1646017801426965E-2</c:v>
                </c:pt>
                <c:pt idx="49">
                  <c:v>3.2276105652437201E-2</c:v>
                </c:pt>
                <c:pt idx="50">
                  <c:v>3.2979896440148176E-2</c:v>
                </c:pt>
                <c:pt idx="51">
                  <c:v>3.3753054697695135E-2</c:v>
                </c:pt>
                <c:pt idx="52">
                  <c:v>3.3862886524935458E-2</c:v>
                </c:pt>
                <c:pt idx="53">
                  <c:v>3.3900460571096615E-2</c:v>
                </c:pt>
                <c:pt idx="54">
                  <c:v>3.4482858286594607E-2</c:v>
                </c:pt>
                <c:pt idx="55">
                  <c:v>3.5322493702734395E-2</c:v>
                </c:pt>
                <c:pt idx="56">
                  <c:v>3.6280631879843997E-2</c:v>
                </c:pt>
                <c:pt idx="57">
                  <c:v>3.7483001357001146E-2</c:v>
                </c:pt>
                <c:pt idx="58">
                  <c:v>3.8562532606323731E-2</c:v>
                </c:pt>
                <c:pt idx="59">
                  <c:v>3.8708493324103622E-2</c:v>
                </c:pt>
                <c:pt idx="60">
                  <c:v>3.8926711822962673E-2</c:v>
                </c:pt>
                <c:pt idx="61">
                  <c:v>4.0441234914381778E-2</c:v>
                </c:pt>
                <c:pt idx="62">
                  <c:v>4.281562560064283E-2</c:v>
                </c:pt>
                <c:pt idx="63">
                  <c:v>4.5299848114144198E-2</c:v>
                </c:pt>
                <c:pt idx="64">
                  <c:v>4.7521052304517433E-2</c:v>
                </c:pt>
                <c:pt idx="65">
                  <c:v>4.9613637644569782E-2</c:v>
                </c:pt>
                <c:pt idx="66">
                  <c:v>5.0678717337676531E-2</c:v>
                </c:pt>
                <c:pt idx="67">
                  <c:v>5.1745242186404868E-2</c:v>
                </c:pt>
                <c:pt idx="68">
                  <c:v>5.3846498460186715E-2</c:v>
                </c:pt>
                <c:pt idx="69">
                  <c:v>5.6848086686214834E-2</c:v>
                </c:pt>
                <c:pt idx="70">
                  <c:v>5.9024491052319002E-2</c:v>
                </c:pt>
                <c:pt idx="71">
                  <c:v>6.1502932943334032E-2</c:v>
                </c:pt>
                <c:pt idx="72">
                  <c:v>6.3745814468031028E-2</c:v>
                </c:pt>
                <c:pt idx="73">
                  <c:v>6.4819565094867276E-2</c:v>
                </c:pt>
                <c:pt idx="74">
                  <c:v>6.5592723352414242E-2</c:v>
                </c:pt>
                <c:pt idx="75">
                  <c:v>6.7047995063348437E-2</c:v>
                </c:pt>
                <c:pt idx="76">
                  <c:v>6.9811132611815332E-2</c:v>
                </c:pt>
                <c:pt idx="77">
                  <c:v>7.204534320278283E-2</c:v>
                </c:pt>
                <c:pt idx="78">
                  <c:v>7.4343140641099981E-2</c:v>
                </c:pt>
                <c:pt idx="79">
                  <c:v>7.6746434439792691E-2</c:v>
                </c:pt>
                <c:pt idx="80">
                  <c:v>7.8107771035323972E-2</c:v>
                </c:pt>
                <c:pt idx="81">
                  <c:v>7.8651149549039234E-2</c:v>
                </c:pt>
                <c:pt idx="82">
                  <c:v>8.0227814332186398E-2</c:v>
                </c:pt>
                <c:pt idx="83">
                  <c:v>8.1850724095224231E-2</c:v>
                </c:pt>
                <c:pt idx="84">
                  <c:v>8.3366692342264917E-2</c:v>
                </c:pt>
                <c:pt idx="85">
                  <c:v>8.4808957652604863E-2</c:v>
                </c:pt>
                <c:pt idx="86">
                  <c:v>8.6551815332234092E-2</c:v>
                </c:pt>
                <c:pt idx="87">
                  <c:v>8.697813624060112E-2</c:v>
                </c:pt>
                <c:pt idx="88">
                  <c:v>8.7320638122916308E-2</c:v>
                </c:pt>
                <c:pt idx="89">
                  <c:v>8.8353924392348238E-2</c:v>
                </c:pt>
                <c:pt idx="90">
                  <c:v>8.9960937443548661E-2</c:v>
                </c:pt>
                <c:pt idx="91">
                  <c:v>9.1349731995890027E-2</c:v>
                </c:pt>
                <c:pt idx="92">
                  <c:v>9.2923506467794029E-2</c:v>
                </c:pt>
                <c:pt idx="93">
                  <c:v>9.3459659203401366E-2</c:v>
                </c:pt>
                <c:pt idx="94">
                  <c:v>9.3722677526529491E-2</c:v>
                </c:pt>
                <c:pt idx="95">
                  <c:v>9.3939450869766961E-2</c:v>
                </c:pt>
                <c:pt idx="96">
                  <c:v>9.4167785457977091E-2</c:v>
                </c:pt>
                <c:pt idx="97">
                  <c:v>9.5279110130974495E-2</c:v>
                </c:pt>
                <c:pt idx="98">
                  <c:v>9.6958380963254071E-2</c:v>
                </c:pt>
                <c:pt idx="99">
                  <c:v>9.9084204882602833E-2</c:v>
                </c:pt>
                <c:pt idx="100">
                  <c:v>0.10160889175350853</c:v>
                </c:pt>
                <c:pt idx="101">
                  <c:v>0.10255835899688863</c:v>
                </c:pt>
                <c:pt idx="102">
                  <c:v>0.10306416346444272</c:v>
                </c:pt>
                <c:pt idx="103">
                  <c:v>0.10524056783054689</c:v>
                </c:pt>
                <c:pt idx="104">
                  <c:v>0.10755137166945827</c:v>
                </c:pt>
                <c:pt idx="105">
                  <c:v>0.10994021391193516</c:v>
                </c:pt>
                <c:pt idx="106">
                  <c:v>0.11277994470834597</c:v>
                </c:pt>
                <c:pt idx="107">
                  <c:v>0.11631913082560301</c:v>
                </c:pt>
                <c:pt idx="108">
                  <c:v>0.11790446654247969</c:v>
                </c:pt>
                <c:pt idx="109">
                  <c:v>0.1188698304976972</c:v>
                </c:pt>
                <c:pt idx="110">
                  <c:v>0.12218212718236569</c:v>
                </c:pt>
                <c:pt idx="111">
                  <c:v>0.12502763860126284</c:v>
                </c:pt>
                <c:pt idx="112">
                  <c:v>0.12805523962847945</c:v>
                </c:pt>
                <c:pt idx="113">
                  <c:v>0.13137187178001269</c:v>
                </c:pt>
                <c:pt idx="114">
                  <c:v>0.13528246289201659</c:v>
                </c:pt>
                <c:pt idx="115">
                  <c:v>0.13632297493955645</c:v>
                </c:pt>
                <c:pt idx="116">
                  <c:v>0.13708023648526599</c:v>
                </c:pt>
                <c:pt idx="117">
                  <c:v>0.13917282182531832</c:v>
                </c:pt>
                <c:pt idx="118">
                  <c:v>0.14111222066948287</c:v>
                </c:pt>
                <c:pt idx="119">
                  <c:v>0.14366581065282022</c:v>
                </c:pt>
                <c:pt idx="120">
                  <c:v>0.14628876810599356</c:v>
                </c:pt>
                <c:pt idx="121">
                  <c:v>0.14946522016223324</c:v>
                </c:pt>
                <c:pt idx="122">
                  <c:v>0.15034387478015579</c:v>
                </c:pt>
                <c:pt idx="123">
                  <c:v>0.15111414272645957</c:v>
                </c:pt>
                <c:pt idx="124">
                  <c:v>0.1540478086382733</c:v>
                </c:pt>
                <c:pt idx="125">
                  <c:v>0.15739478905785978</c:v>
                </c:pt>
                <c:pt idx="126">
                  <c:v>0.16233866643929559</c:v>
                </c:pt>
                <c:pt idx="127">
                  <c:v>0.17604741266563298</c:v>
                </c:pt>
                <c:pt idx="128">
                  <c:v>0.19305255886480147</c:v>
                </c:pt>
                <c:pt idx="129">
                  <c:v>0.20389845180478269</c:v>
                </c:pt>
                <c:pt idx="130">
                  <c:v>0.2131662348059952</c:v>
                </c:pt>
                <c:pt idx="131">
                  <c:v>0.2459640416378239</c:v>
                </c:pt>
                <c:pt idx="132">
                  <c:v>0.27918672422239804</c:v>
                </c:pt>
                <c:pt idx="133">
                  <c:v>0.31617259204557457</c:v>
                </c:pt>
                <c:pt idx="134">
                  <c:v>0.34852384579033413</c:v>
                </c:pt>
                <c:pt idx="135">
                  <c:v>0.38016552812489635</c:v>
                </c:pt>
                <c:pt idx="136">
                  <c:v>0.39139294214897552</c:v>
                </c:pt>
                <c:pt idx="137">
                  <c:v>0.39999306325301659</c:v>
                </c:pt>
                <c:pt idx="138">
                  <c:v>0.41908501416975108</c:v>
                </c:pt>
                <c:pt idx="139">
                  <c:v>0.4367592674217125</c:v>
                </c:pt>
                <c:pt idx="140">
                  <c:v>0.45293200398284911</c:v>
                </c:pt>
                <c:pt idx="141">
                  <c:v>0.46711476125306578</c:v>
                </c:pt>
                <c:pt idx="142">
                  <c:v>0.48122526074220329</c:v>
                </c:pt>
                <c:pt idx="143">
                  <c:v>0.48655499467460178</c:v>
                </c:pt>
                <c:pt idx="144">
                  <c:v>0.49075606206654387</c:v>
                </c:pt>
                <c:pt idx="145">
                  <c:v>0.49718411427134557</c:v>
                </c:pt>
                <c:pt idx="146">
                  <c:v>0.50388241057738326</c:v>
                </c:pt>
                <c:pt idx="147">
                  <c:v>0.51285827214303603</c:v>
                </c:pt>
                <c:pt idx="148">
                  <c:v>0.52055950645045235</c:v>
                </c:pt>
                <c:pt idx="149">
                  <c:v>0.5286755004212631</c:v>
                </c:pt>
                <c:pt idx="150">
                  <c:v>0.53216699640300791</c:v>
                </c:pt>
                <c:pt idx="151">
                  <c:v>0.53492435332898847</c:v>
                </c:pt>
                <c:pt idx="152">
                  <c:v>0.54017460370219994</c:v>
                </c:pt>
                <c:pt idx="153">
                  <c:v>0.54554046652513799</c:v>
                </c:pt>
                <c:pt idx="154">
                  <c:v>0.55121270233985176</c:v>
                </c:pt>
                <c:pt idx="155">
                  <c:v>0.55630254043906746</c:v>
                </c:pt>
                <c:pt idx="156">
                  <c:v>0.56188662176086457</c:v>
                </c:pt>
                <c:pt idx="157">
                  <c:v>0.56431592836074584</c:v>
                </c:pt>
                <c:pt idx="158">
                  <c:v>0.5658853673657851</c:v>
                </c:pt>
                <c:pt idx="159">
                  <c:v>0.57035956917020636</c:v>
                </c:pt>
                <c:pt idx="160">
                  <c:v>0.57479330661722339</c:v>
                </c:pt>
                <c:pt idx="161">
                  <c:v>0.57799577147465153</c:v>
                </c:pt>
                <c:pt idx="162">
                  <c:v>0.58135864860607545</c:v>
                </c:pt>
                <c:pt idx="163">
                  <c:v>0.58472152573749936</c:v>
                </c:pt>
                <c:pt idx="164">
                  <c:v>0.58808440286892327</c:v>
                </c:pt>
                <c:pt idx="165">
                  <c:v>0.59144728000034719</c:v>
                </c:pt>
                <c:pt idx="166">
                  <c:v>0.59481015713177099</c:v>
                </c:pt>
                <c:pt idx="167">
                  <c:v>0.5981730342631949</c:v>
                </c:pt>
                <c:pt idx="168">
                  <c:v>0.60153591139461882</c:v>
                </c:pt>
                <c:pt idx="169">
                  <c:v>0.60489878852604273</c:v>
                </c:pt>
                <c:pt idx="170">
                  <c:v>0.60826166565746664</c:v>
                </c:pt>
                <c:pt idx="171">
                  <c:v>0.61162454278889056</c:v>
                </c:pt>
                <c:pt idx="172">
                  <c:v>0.61498741992031447</c:v>
                </c:pt>
                <c:pt idx="173">
                  <c:v>0.61835029705173827</c:v>
                </c:pt>
                <c:pt idx="174">
                  <c:v>0.62171317418316219</c:v>
                </c:pt>
                <c:pt idx="175">
                  <c:v>0.6250760513145861</c:v>
                </c:pt>
                <c:pt idx="176">
                  <c:v>0.62843892844601001</c:v>
                </c:pt>
                <c:pt idx="177">
                  <c:v>0.63180180557743393</c:v>
                </c:pt>
                <c:pt idx="178">
                  <c:v>0.63516468270885784</c:v>
                </c:pt>
                <c:pt idx="179">
                  <c:v>0.63852755984028176</c:v>
                </c:pt>
                <c:pt idx="180">
                  <c:v>0.64189043697170567</c:v>
                </c:pt>
                <c:pt idx="181">
                  <c:v>0.64525331410312947</c:v>
                </c:pt>
                <c:pt idx="182">
                  <c:v>0.64861619123455339</c:v>
                </c:pt>
                <c:pt idx="183">
                  <c:v>0.6536597843538785</c:v>
                </c:pt>
                <c:pt idx="184">
                  <c:v>0.65870337747320351</c:v>
                </c:pt>
                <c:pt idx="185">
                  <c:v>0.66374697059252863</c:v>
                </c:pt>
                <c:pt idx="186">
                  <c:v>0.66879056371185364</c:v>
                </c:pt>
                <c:pt idx="187">
                  <c:v>0.67383415683117875</c:v>
                </c:pt>
                <c:pt idx="188">
                  <c:v>0.67887774995050376</c:v>
                </c:pt>
                <c:pt idx="189">
                  <c:v>0.68392134306982877</c:v>
                </c:pt>
                <c:pt idx="190">
                  <c:v>0.68896493618915389</c:v>
                </c:pt>
                <c:pt idx="191">
                  <c:v>0.69400852930847889</c:v>
                </c:pt>
                <c:pt idx="192">
                  <c:v>0.69905212242780401</c:v>
                </c:pt>
                <c:pt idx="193">
                  <c:v>0.70409571554712902</c:v>
                </c:pt>
                <c:pt idx="194">
                  <c:v>0.70913930866645414</c:v>
                </c:pt>
                <c:pt idx="195">
                  <c:v>0.71418290178577915</c:v>
                </c:pt>
                <c:pt idx="196">
                  <c:v>0.71922649490510426</c:v>
                </c:pt>
                <c:pt idx="197">
                  <c:v>0.72427008802442927</c:v>
                </c:pt>
                <c:pt idx="198">
                  <c:v>0.72931368114375439</c:v>
                </c:pt>
                <c:pt idx="199">
                  <c:v>0.7343572742630794</c:v>
                </c:pt>
                <c:pt idx="200">
                  <c:v>0.7394008673824044</c:v>
                </c:pt>
                <c:pt idx="201">
                  <c:v>0.74444446050172952</c:v>
                </c:pt>
                <c:pt idx="202">
                  <c:v>0.74948805362105453</c:v>
                </c:pt>
                <c:pt idx="203">
                  <c:v>0.75453164674037965</c:v>
                </c:pt>
                <c:pt idx="204">
                  <c:v>0.75957523985970465</c:v>
                </c:pt>
                <c:pt idx="205">
                  <c:v>0.76461883297902977</c:v>
                </c:pt>
                <c:pt idx="206">
                  <c:v>0.76966242609835478</c:v>
                </c:pt>
                <c:pt idx="207">
                  <c:v>0.7747060192176799</c:v>
                </c:pt>
                <c:pt idx="208">
                  <c:v>0.7797496123370049</c:v>
                </c:pt>
                <c:pt idx="209">
                  <c:v>0.78479320545632991</c:v>
                </c:pt>
                <c:pt idx="210">
                  <c:v>0.78983679857565503</c:v>
                </c:pt>
                <c:pt idx="211">
                  <c:v>0.79488039169498004</c:v>
                </c:pt>
                <c:pt idx="212">
                  <c:v>0.79992398481430516</c:v>
                </c:pt>
                <c:pt idx="213">
                  <c:v>0.80496757793363016</c:v>
                </c:pt>
                <c:pt idx="214">
                  <c:v>0.80496757793363016</c:v>
                </c:pt>
                <c:pt idx="215">
                  <c:v>0.80496757793363016</c:v>
                </c:pt>
                <c:pt idx="216">
                  <c:v>0.80496757793363016</c:v>
                </c:pt>
                <c:pt idx="217">
                  <c:v>0.80496757793363016</c:v>
                </c:pt>
                <c:pt idx="218">
                  <c:v>0.80496757793363016</c:v>
                </c:pt>
                <c:pt idx="219">
                  <c:v>0.80496757793363016</c:v>
                </c:pt>
                <c:pt idx="220">
                  <c:v>0.80496757793363016</c:v>
                </c:pt>
                <c:pt idx="221">
                  <c:v>0.80496757793363016</c:v>
                </c:pt>
                <c:pt idx="222">
                  <c:v>0.80496757793363016</c:v>
                </c:pt>
                <c:pt idx="223">
                  <c:v>0.80496757793363016</c:v>
                </c:pt>
                <c:pt idx="224">
                  <c:v>0.80496757793363016</c:v>
                </c:pt>
                <c:pt idx="225">
                  <c:v>0.80496757793363016</c:v>
                </c:pt>
                <c:pt idx="226">
                  <c:v>0.80496757793363016</c:v>
                </c:pt>
                <c:pt idx="227">
                  <c:v>0.80496757793363016</c:v>
                </c:pt>
                <c:pt idx="228">
                  <c:v>0.80496757793363016</c:v>
                </c:pt>
                <c:pt idx="229">
                  <c:v>0.80496757793363016</c:v>
                </c:pt>
                <c:pt idx="230">
                  <c:v>0.80496757793363016</c:v>
                </c:pt>
                <c:pt idx="231">
                  <c:v>0.80496757793363016</c:v>
                </c:pt>
                <c:pt idx="232">
                  <c:v>0.80496757793363016</c:v>
                </c:pt>
                <c:pt idx="233">
                  <c:v>0.80496757793363016</c:v>
                </c:pt>
                <c:pt idx="234">
                  <c:v>0.80496757793363016</c:v>
                </c:pt>
                <c:pt idx="235">
                  <c:v>0.80496757793363016</c:v>
                </c:pt>
                <c:pt idx="236">
                  <c:v>0.80496757793363016</c:v>
                </c:pt>
                <c:pt idx="237">
                  <c:v>0.80496757793363016</c:v>
                </c:pt>
                <c:pt idx="238">
                  <c:v>0.80496757793363016</c:v>
                </c:pt>
                <c:pt idx="239">
                  <c:v>0.80496757793363016</c:v>
                </c:pt>
                <c:pt idx="240">
                  <c:v>0.80496757793363016</c:v>
                </c:pt>
                <c:pt idx="241">
                  <c:v>0.80496757793363016</c:v>
                </c:pt>
                <c:pt idx="242">
                  <c:v>0.80496757793363016</c:v>
                </c:pt>
                <c:pt idx="243">
                  <c:v>0.80496757793363016</c:v>
                </c:pt>
                <c:pt idx="244">
                  <c:v>0.804967577933630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4-F267-42C6-AC42-927B0F02AEC7}"/>
            </c:ext>
          </c:extLst>
        </c:ser>
        <c:ser>
          <c:idx val="8"/>
          <c:order val="8"/>
          <c:tx>
            <c:strRef>
              <c:f>List1!$J$1</c:f>
              <c:strCache>
                <c:ptCount val="1"/>
                <c:pt idx="0">
                  <c:v>12 55-59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J$5:$J$249</c:f>
              <c:numCache>
                <c:formatCode>0.00%</c:formatCode>
                <c:ptCount val="245"/>
                <c:pt idx="0">
                  <c:v>1.6173013035512183E-3</c:v>
                </c:pt>
                <c:pt idx="1">
                  <c:v>1.7971783186115408E-3</c:v>
                </c:pt>
                <c:pt idx="2">
                  <c:v>1.8449332783620688E-3</c:v>
                </c:pt>
                <c:pt idx="3">
                  <c:v>2.0470959413059712E-3</c:v>
                </c:pt>
                <c:pt idx="4">
                  <c:v>2.206279140474398E-3</c:v>
                </c:pt>
                <c:pt idx="5">
                  <c:v>2.8780322409651601E-3</c:v>
                </c:pt>
                <c:pt idx="6">
                  <c:v>3.7073767086326648E-3</c:v>
                </c:pt>
                <c:pt idx="7">
                  <c:v>4.7436593352191249E-3</c:v>
                </c:pt>
                <c:pt idx="8">
                  <c:v>6.0776145442505425E-3</c:v>
                </c:pt>
                <c:pt idx="9">
                  <c:v>7.6869566878433396E-3</c:v>
                </c:pt>
                <c:pt idx="10">
                  <c:v>8.0276087340637736E-3</c:v>
                </c:pt>
                <c:pt idx="11">
                  <c:v>8.3252813165087328E-3</c:v>
                </c:pt>
                <c:pt idx="12">
                  <c:v>9.9776029238770048E-3</c:v>
                </c:pt>
                <c:pt idx="13">
                  <c:v>1.199286222534929E-2</c:v>
                </c:pt>
                <c:pt idx="14">
                  <c:v>1.413228442217295E-2</c:v>
                </c:pt>
                <c:pt idx="15">
                  <c:v>1.6500930425799143E-2</c:v>
                </c:pt>
                <c:pt idx="16">
                  <c:v>1.8697658574323435E-2</c:v>
                </c:pt>
                <c:pt idx="17">
                  <c:v>1.8998514820751763E-2</c:v>
                </c:pt>
                <c:pt idx="18">
                  <c:v>1.9137004204028293E-2</c:v>
                </c:pt>
                <c:pt idx="19">
                  <c:v>2.0545775516668873E-2</c:v>
                </c:pt>
                <c:pt idx="20">
                  <c:v>2.1972056981217979E-2</c:v>
                </c:pt>
                <c:pt idx="21">
                  <c:v>2.3388787453816978E-2</c:v>
                </c:pt>
                <c:pt idx="22">
                  <c:v>2.4813477086374401E-2</c:v>
                </c:pt>
                <c:pt idx="23">
                  <c:v>2.5985065432254022E-2</c:v>
                </c:pt>
                <c:pt idx="24">
                  <c:v>2.6144248631422451E-2</c:v>
                </c:pt>
                <c:pt idx="25">
                  <c:v>2.620792191108982E-2</c:v>
                </c:pt>
                <c:pt idx="26">
                  <c:v>2.6839879211788476E-2</c:v>
                </c:pt>
                <c:pt idx="27">
                  <c:v>2.7664448183480926E-2</c:v>
                </c:pt>
                <c:pt idx="28">
                  <c:v>2.8353711435880218E-2</c:v>
                </c:pt>
                <c:pt idx="29">
                  <c:v>2.8812159049485288E-2</c:v>
                </c:pt>
                <c:pt idx="30">
                  <c:v>2.928015765504046E-2</c:v>
                </c:pt>
                <c:pt idx="31">
                  <c:v>2.9315177958857516E-2</c:v>
                </c:pt>
                <c:pt idx="32">
                  <c:v>2.9337463606741096E-2</c:v>
                </c:pt>
                <c:pt idx="33">
                  <c:v>2.9565095581551945E-2</c:v>
                </c:pt>
                <c:pt idx="34">
                  <c:v>2.9845258012088378E-2</c:v>
                </c:pt>
                <c:pt idx="35">
                  <c:v>3.014452242652502E-2</c:v>
                </c:pt>
                <c:pt idx="36">
                  <c:v>3.0410358369136293E-2</c:v>
                </c:pt>
                <c:pt idx="37">
                  <c:v>3.0773296063240307E-2</c:v>
                </c:pt>
                <c:pt idx="38">
                  <c:v>3.0798765375107257E-2</c:v>
                </c:pt>
                <c:pt idx="39">
                  <c:v>3.0819459190999151E-2</c:v>
                </c:pt>
                <c:pt idx="40">
                  <c:v>3.1058233989751792E-2</c:v>
                </c:pt>
                <c:pt idx="41">
                  <c:v>3.1459375651656227E-2</c:v>
                </c:pt>
                <c:pt idx="42">
                  <c:v>3.1928966089203085E-2</c:v>
                </c:pt>
                <c:pt idx="43">
                  <c:v>3.2379454542849732E-2</c:v>
                </c:pt>
                <c:pt idx="44">
                  <c:v>3.294455489989765E-2</c:v>
                </c:pt>
                <c:pt idx="45">
                  <c:v>3.3052799475332184E-2</c:v>
                </c:pt>
                <c:pt idx="46">
                  <c:v>3.3138758402883134E-2</c:v>
                </c:pt>
                <c:pt idx="47">
                  <c:v>3.3530349072837459E-2</c:v>
                </c:pt>
                <c:pt idx="48">
                  <c:v>3.3995164014409267E-2</c:v>
                </c:pt>
                <c:pt idx="49">
                  <c:v>3.4631896811082981E-2</c:v>
                </c:pt>
                <c:pt idx="50">
                  <c:v>3.541985364696669E-2</c:v>
                </c:pt>
                <c:pt idx="51">
                  <c:v>3.6238055290692406E-2</c:v>
                </c:pt>
                <c:pt idx="52">
                  <c:v>3.6362218186043779E-2</c:v>
                </c:pt>
                <c:pt idx="53">
                  <c:v>3.6398830321852517E-2</c:v>
                </c:pt>
                <c:pt idx="54">
                  <c:v>3.7056256934418122E-2</c:v>
                </c:pt>
                <c:pt idx="55">
                  <c:v>3.7860132090218677E-2</c:v>
                </c:pt>
                <c:pt idx="56">
                  <c:v>3.8963271660455878E-2</c:v>
                </c:pt>
                <c:pt idx="57">
                  <c:v>4.0292451373512242E-2</c:v>
                </c:pt>
                <c:pt idx="58">
                  <c:v>4.154840681495113E-2</c:v>
                </c:pt>
                <c:pt idx="59">
                  <c:v>4.1710773678102928E-2</c:v>
                </c:pt>
                <c:pt idx="60">
                  <c:v>4.2025956412456413E-2</c:v>
                </c:pt>
                <c:pt idx="61">
                  <c:v>4.4507622487492189E-2</c:v>
                </c:pt>
                <c:pt idx="62">
                  <c:v>4.9330873422295529E-2</c:v>
                </c:pt>
                <c:pt idx="63">
                  <c:v>5.3224494473955254E-2</c:v>
                </c:pt>
                <c:pt idx="64">
                  <c:v>5.6845912255036962E-2</c:v>
                </c:pt>
                <c:pt idx="65">
                  <c:v>5.9996147766580132E-2</c:v>
                </c:pt>
                <c:pt idx="66">
                  <c:v>6.1759897613366303E-2</c:v>
                </c:pt>
                <c:pt idx="67">
                  <c:v>6.3154342438081726E-2</c:v>
                </c:pt>
                <c:pt idx="68">
                  <c:v>6.6444659164893116E-2</c:v>
                </c:pt>
                <c:pt idx="69">
                  <c:v>6.9968975194482086E-2</c:v>
                </c:pt>
                <c:pt idx="70">
                  <c:v>7.359198480755548E-2</c:v>
                </c:pt>
                <c:pt idx="71">
                  <c:v>7.7100382517227617E-2</c:v>
                </c:pt>
                <c:pt idx="72">
                  <c:v>8.0016618725993194E-2</c:v>
                </c:pt>
                <c:pt idx="73">
                  <c:v>8.1466777670417573E-2</c:v>
                </c:pt>
                <c:pt idx="74">
                  <c:v>8.2358203585760764E-2</c:v>
                </c:pt>
                <c:pt idx="75">
                  <c:v>8.4317748767524098E-2</c:v>
                </c:pt>
                <c:pt idx="76">
                  <c:v>8.7509371910851064E-2</c:v>
                </c:pt>
                <c:pt idx="77">
                  <c:v>9.0401730639741371E-2</c:v>
                </c:pt>
                <c:pt idx="78">
                  <c:v>9.3136498001454945E-2</c:v>
                </c:pt>
                <c:pt idx="79">
                  <c:v>9.6167346113621807E-2</c:v>
                </c:pt>
                <c:pt idx="80">
                  <c:v>9.7429668883027426E-2</c:v>
                </c:pt>
                <c:pt idx="81">
                  <c:v>9.7908810312524394E-2</c:v>
                </c:pt>
                <c:pt idx="82">
                  <c:v>9.9658233671385404E-2</c:v>
                </c:pt>
                <c:pt idx="83">
                  <c:v>0.10166871747688264</c:v>
                </c:pt>
                <c:pt idx="84">
                  <c:v>0.10340381434781849</c:v>
                </c:pt>
                <c:pt idx="85">
                  <c:v>0.1049622178676774</c:v>
                </c:pt>
                <c:pt idx="86">
                  <c:v>0.10690743656151556</c:v>
                </c:pt>
                <c:pt idx="87">
                  <c:v>0.10748845523848033</c:v>
                </c:pt>
                <c:pt idx="88">
                  <c:v>0.10808698406735362</c:v>
                </c:pt>
                <c:pt idx="89">
                  <c:v>0.10957375514758673</c:v>
                </c:pt>
                <c:pt idx="90">
                  <c:v>0.11154762681727522</c:v>
                </c:pt>
                <c:pt idx="91">
                  <c:v>0.11350398833505519</c:v>
                </c:pt>
                <c:pt idx="92">
                  <c:v>0.11562590037997032</c:v>
                </c:pt>
                <c:pt idx="93">
                  <c:v>0.11623398020079372</c:v>
                </c:pt>
                <c:pt idx="94">
                  <c:v>0.11653006095124699</c:v>
                </c:pt>
                <c:pt idx="95">
                  <c:v>0.11676246842203289</c:v>
                </c:pt>
                <c:pt idx="96">
                  <c:v>0.11694712093306826</c:v>
                </c:pt>
                <c:pt idx="97">
                  <c:v>0.11818556622259863</c:v>
                </c:pt>
                <c:pt idx="98">
                  <c:v>0.11996205072531826</c:v>
                </c:pt>
                <c:pt idx="99">
                  <c:v>0.12256787969570541</c:v>
                </c:pt>
                <c:pt idx="100">
                  <c:v>0.12572448253521532</c:v>
                </c:pt>
                <c:pt idx="101">
                  <c:v>0.12712529468789749</c:v>
                </c:pt>
                <c:pt idx="102">
                  <c:v>0.12779704778838824</c:v>
                </c:pt>
                <c:pt idx="103">
                  <c:v>0.13072601865308731</c:v>
                </c:pt>
                <c:pt idx="104">
                  <c:v>0.13360723455803583</c:v>
                </c:pt>
                <c:pt idx="105">
                  <c:v>0.13642796084730036</c:v>
                </c:pt>
                <c:pt idx="106">
                  <c:v>0.14032954105891851</c:v>
                </c:pt>
                <c:pt idx="107">
                  <c:v>0.14460520178858247</c:v>
                </c:pt>
                <c:pt idx="108">
                  <c:v>0.14641829842711085</c:v>
                </c:pt>
                <c:pt idx="109">
                  <c:v>0.1476058050929073</c:v>
                </c:pt>
                <c:pt idx="110">
                  <c:v>0.15132750828946512</c:v>
                </c:pt>
                <c:pt idx="111">
                  <c:v>0.15497757904639717</c:v>
                </c:pt>
                <c:pt idx="112">
                  <c:v>0.15893646520971594</c:v>
                </c:pt>
                <c:pt idx="113">
                  <c:v>0.16329012570697241</c:v>
                </c:pt>
                <c:pt idx="114">
                  <c:v>0.16809586648986721</c:v>
                </c:pt>
                <c:pt idx="115">
                  <c:v>0.16930406697155559</c:v>
                </c:pt>
                <c:pt idx="116">
                  <c:v>0.17011908495129793</c:v>
                </c:pt>
                <c:pt idx="117">
                  <c:v>0.17304964764798866</c:v>
                </c:pt>
                <c:pt idx="118">
                  <c:v>0.17585923111331142</c:v>
                </c:pt>
                <c:pt idx="119">
                  <c:v>0.17968758705331209</c:v>
                </c:pt>
                <c:pt idx="120">
                  <c:v>0.18876739673387916</c:v>
                </c:pt>
                <c:pt idx="121">
                  <c:v>0.20094172780628045</c:v>
                </c:pt>
                <c:pt idx="122">
                  <c:v>0.20758444270757892</c:v>
                </c:pt>
                <c:pt idx="123">
                  <c:v>0.21427968806460296</c:v>
                </c:pt>
                <c:pt idx="124">
                  <c:v>0.2421033194472523</c:v>
                </c:pt>
                <c:pt idx="125">
                  <c:v>0.27296575810202695</c:v>
                </c:pt>
                <c:pt idx="126">
                  <c:v>0.30744961453788328</c:v>
                </c:pt>
                <c:pt idx="127">
                  <c:v>0.34334860961434693</c:v>
                </c:pt>
                <c:pt idx="128">
                  <c:v>0.37778311925846103</c:v>
                </c:pt>
                <c:pt idx="129">
                  <c:v>0.38959132897277499</c:v>
                </c:pt>
                <c:pt idx="130">
                  <c:v>0.39983795150324664</c:v>
                </c:pt>
                <c:pt idx="131">
                  <c:v>0.42439991913493491</c:v>
                </c:pt>
                <c:pt idx="132">
                  <c:v>0.44825988885829043</c:v>
                </c:pt>
                <c:pt idx="133">
                  <c:v>0.46898872505400296</c:v>
                </c:pt>
                <c:pt idx="134">
                  <c:v>0.48754311874907486</c:v>
                </c:pt>
                <c:pt idx="135">
                  <c:v>0.507840568475041</c:v>
                </c:pt>
                <c:pt idx="136">
                  <c:v>0.51455969131194024</c:v>
                </c:pt>
                <c:pt idx="137">
                  <c:v>0.52018204190656914</c:v>
                </c:pt>
                <c:pt idx="138">
                  <c:v>0.53222425092366066</c:v>
                </c:pt>
                <c:pt idx="139">
                  <c:v>0.54362813531208676</c:v>
                </c:pt>
                <c:pt idx="140">
                  <c:v>0.55439847056782254</c:v>
                </c:pt>
                <c:pt idx="141">
                  <c:v>0.56449705272306749</c:v>
                </c:pt>
                <c:pt idx="142">
                  <c:v>0.57385384117018767</c:v>
                </c:pt>
                <c:pt idx="143">
                  <c:v>0.57829982792296175</c:v>
                </c:pt>
                <c:pt idx="144">
                  <c:v>0.58148667557031375</c:v>
                </c:pt>
                <c:pt idx="145">
                  <c:v>0.58681612907847269</c:v>
                </c:pt>
                <c:pt idx="146">
                  <c:v>0.59262790768011187</c:v>
                </c:pt>
                <c:pt idx="147">
                  <c:v>0.60007927323318599</c:v>
                </c:pt>
                <c:pt idx="148">
                  <c:v>0.60673313095842618</c:v>
                </c:pt>
                <c:pt idx="149">
                  <c:v>0.61318164235673922</c:v>
                </c:pt>
                <c:pt idx="150">
                  <c:v>0.61562351263198289</c:v>
                </c:pt>
                <c:pt idx="151">
                  <c:v>0.6173761196548273</c:v>
                </c:pt>
                <c:pt idx="152">
                  <c:v>0.62162631107262423</c:v>
                </c:pt>
                <c:pt idx="153">
                  <c:v>0.62622511369660017</c:v>
                </c:pt>
                <c:pt idx="154">
                  <c:v>0.63118685401468</c:v>
                </c:pt>
                <c:pt idx="155">
                  <c:v>0.63596712548570788</c:v>
                </c:pt>
                <c:pt idx="156">
                  <c:v>0.64088270267602887</c:v>
                </c:pt>
                <c:pt idx="157">
                  <c:v>0.64298073724106874</c:v>
                </c:pt>
                <c:pt idx="158">
                  <c:v>0.64418257039479032</c:v>
                </c:pt>
                <c:pt idx="159">
                  <c:v>0.64811280358225887</c:v>
                </c:pt>
                <c:pt idx="160">
                  <c:v>0.65228658706445497</c:v>
                </c:pt>
                <c:pt idx="161">
                  <c:v>0.65531106784865512</c:v>
                </c:pt>
                <c:pt idx="162">
                  <c:v>0.65830530382501318</c:v>
                </c:pt>
                <c:pt idx="163">
                  <c:v>0.66129953980137135</c:v>
                </c:pt>
                <c:pt idx="164">
                  <c:v>0.66429377577772941</c:v>
                </c:pt>
                <c:pt idx="165">
                  <c:v>0.66728801175408758</c:v>
                </c:pt>
                <c:pt idx="166">
                  <c:v>0.67028224773044565</c:v>
                </c:pt>
                <c:pt idx="167">
                  <c:v>0.67327648370680382</c:v>
                </c:pt>
                <c:pt idx="168">
                  <c:v>0.67627071968316188</c:v>
                </c:pt>
                <c:pt idx="169">
                  <c:v>0.67926495565951994</c:v>
                </c:pt>
                <c:pt idx="170">
                  <c:v>0.68225919163587812</c:v>
                </c:pt>
                <c:pt idx="171">
                  <c:v>0.68525342761223618</c:v>
                </c:pt>
                <c:pt idx="172">
                  <c:v>0.68824766358859435</c:v>
                </c:pt>
                <c:pt idx="173">
                  <c:v>0.69124189956495241</c:v>
                </c:pt>
                <c:pt idx="174">
                  <c:v>0.69423613554131058</c:v>
                </c:pt>
                <c:pt idx="175">
                  <c:v>0.69723037151766865</c:v>
                </c:pt>
                <c:pt idx="176">
                  <c:v>0.70022460749402682</c:v>
                </c:pt>
                <c:pt idx="177">
                  <c:v>0.70321884347038488</c:v>
                </c:pt>
                <c:pt idx="178">
                  <c:v>0.70621307944674305</c:v>
                </c:pt>
                <c:pt idx="179">
                  <c:v>0.70920731542310111</c:v>
                </c:pt>
                <c:pt idx="180">
                  <c:v>0.71220155139945918</c:v>
                </c:pt>
                <c:pt idx="181">
                  <c:v>0.71519578737581735</c:v>
                </c:pt>
                <c:pt idx="182">
                  <c:v>0.71819002335217541</c:v>
                </c:pt>
                <c:pt idx="183">
                  <c:v>0.72268058140071678</c:v>
                </c:pt>
                <c:pt idx="184">
                  <c:v>0.72717113944925815</c:v>
                </c:pt>
                <c:pt idx="185">
                  <c:v>0.73166169749779941</c:v>
                </c:pt>
                <c:pt idx="186">
                  <c:v>0.73615225554634078</c:v>
                </c:pt>
                <c:pt idx="187">
                  <c:v>0.74064281359488204</c:v>
                </c:pt>
                <c:pt idx="188">
                  <c:v>0.74513337164342341</c:v>
                </c:pt>
                <c:pt idx="189">
                  <c:v>0.74962392969196479</c:v>
                </c:pt>
                <c:pt idx="190">
                  <c:v>0.75411448774050605</c:v>
                </c:pt>
                <c:pt idx="191">
                  <c:v>0.75860504578904742</c:v>
                </c:pt>
                <c:pt idx="192">
                  <c:v>0.76309560383758868</c:v>
                </c:pt>
                <c:pt idx="193">
                  <c:v>0.76758616188613005</c:v>
                </c:pt>
                <c:pt idx="194">
                  <c:v>0.77207671993467131</c:v>
                </c:pt>
                <c:pt idx="195">
                  <c:v>0.77656727798321268</c:v>
                </c:pt>
                <c:pt idx="196">
                  <c:v>0.78105783603175405</c:v>
                </c:pt>
                <c:pt idx="197">
                  <c:v>0.78554839408029531</c:v>
                </c:pt>
                <c:pt idx="198">
                  <c:v>0.79003895212883668</c:v>
                </c:pt>
                <c:pt idx="199">
                  <c:v>0.79452951017737794</c:v>
                </c:pt>
                <c:pt idx="200">
                  <c:v>0.79902006822591931</c:v>
                </c:pt>
                <c:pt idx="201">
                  <c:v>0.80351062627446068</c:v>
                </c:pt>
                <c:pt idx="202">
                  <c:v>0.80351062627446068</c:v>
                </c:pt>
                <c:pt idx="203">
                  <c:v>0.80351062627446068</c:v>
                </c:pt>
                <c:pt idx="204">
                  <c:v>0.80351062627446068</c:v>
                </c:pt>
                <c:pt idx="205">
                  <c:v>0.80351062627446068</c:v>
                </c:pt>
                <c:pt idx="206">
                  <c:v>0.80351062627446068</c:v>
                </c:pt>
                <c:pt idx="207">
                  <c:v>0.80351062627446068</c:v>
                </c:pt>
                <c:pt idx="208">
                  <c:v>0.80351062627446068</c:v>
                </c:pt>
                <c:pt idx="209">
                  <c:v>0.80351062627446068</c:v>
                </c:pt>
                <c:pt idx="210">
                  <c:v>0.80351062627446068</c:v>
                </c:pt>
                <c:pt idx="211">
                  <c:v>0.80351062627446068</c:v>
                </c:pt>
                <c:pt idx="212">
                  <c:v>0.80351062627446068</c:v>
                </c:pt>
                <c:pt idx="213">
                  <c:v>0.80351062627446068</c:v>
                </c:pt>
                <c:pt idx="214">
                  <c:v>0.80351062627446068</c:v>
                </c:pt>
                <c:pt idx="215">
                  <c:v>0.80351062627446068</c:v>
                </c:pt>
                <c:pt idx="216">
                  <c:v>0.80351062627446068</c:v>
                </c:pt>
                <c:pt idx="217">
                  <c:v>0.80351062627446068</c:v>
                </c:pt>
                <c:pt idx="218">
                  <c:v>0.80351062627446068</c:v>
                </c:pt>
                <c:pt idx="219">
                  <c:v>0.80351062627446068</c:v>
                </c:pt>
                <c:pt idx="220">
                  <c:v>0.80351062627446068</c:v>
                </c:pt>
                <c:pt idx="221">
                  <c:v>0.80351062627446068</c:v>
                </c:pt>
                <c:pt idx="222">
                  <c:v>0.80351062627446068</c:v>
                </c:pt>
                <c:pt idx="223">
                  <c:v>0.80351062627446068</c:v>
                </c:pt>
                <c:pt idx="224">
                  <c:v>0.80351062627446068</c:v>
                </c:pt>
                <c:pt idx="225">
                  <c:v>0.80351062627446068</c:v>
                </c:pt>
                <c:pt idx="226">
                  <c:v>0.80351062627446068</c:v>
                </c:pt>
                <c:pt idx="227">
                  <c:v>0.80351062627446068</c:v>
                </c:pt>
                <c:pt idx="228">
                  <c:v>0.80351062627446068</c:v>
                </c:pt>
                <c:pt idx="229">
                  <c:v>0.80351062627446068</c:v>
                </c:pt>
                <c:pt idx="230">
                  <c:v>0.80351062627446068</c:v>
                </c:pt>
                <c:pt idx="231">
                  <c:v>0.80351062627446068</c:v>
                </c:pt>
                <c:pt idx="232">
                  <c:v>0.80351062627446068</c:v>
                </c:pt>
                <c:pt idx="233">
                  <c:v>0.80351062627446068</c:v>
                </c:pt>
                <c:pt idx="234">
                  <c:v>0.80351062627446068</c:v>
                </c:pt>
                <c:pt idx="235">
                  <c:v>0.80351062627446068</c:v>
                </c:pt>
                <c:pt idx="236">
                  <c:v>0.80351062627446068</c:v>
                </c:pt>
                <c:pt idx="237">
                  <c:v>0.80351062627446068</c:v>
                </c:pt>
                <c:pt idx="238">
                  <c:v>0.80351062627446068</c:v>
                </c:pt>
                <c:pt idx="239">
                  <c:v>0.80351062627446068</c:v>
                </c:pt>
                <c:pt idx="240">
                  <c:v>0.80351062627446068</c:v>
                </c:pt>
                <c:pt idx="241">
                  <c:v>0.80351062627446068</c:v>
                </c:pt>
                <c:pt idx="242">
                  <c:v>0.80351062627446068</c:v>
                </c:pt>
                <c:pt idx="243">
                  <c:v>0.80351062627446068</c:v>
                </c:pt>
                <c:pt idx="244">
                  <c:v>0.803510626274460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5-F267-42C6-AC42-927B0F02AEC7}"/>
            </c:ext>
          </c:extLst>
        </c:ser>
        <c:ser>
          <c:idx val="9"/>
          <c:order val="9"/>
          <c:tx>
            <c:strRef>
              <c:f>List1!$K$1</c:f>
              <c:strCache>
                <c:ptCount val="1"/>
                <c:pt idx="0">
                  <c:v>13 60-64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K$5:$K$249</c:f>
              <c:numCache>
                <c:formatCode>0.00%</c:formatCode>
                <c:ptCount val="245"/>
                <c:pt idx="0">
                  <c:v>1.2092023094143994E-3</c:v>
                </c:pt>
                <c:pt idx="1">
                  <c:v>1.3343937787203969E-3</c:v>
                </c:pt>
                <c:pt idx="2">
                  <c:v>1.3682691174737845E-3</c:v>
                </c:pt>
                <c:pt idx="3">
                  <c:v>1.5258630847178047E-3</c:v>
                </c:pt>
                <c:pt idx="4">
                  <c:v>1.6186520560857794E-3</c:v>
                </c:pt>
                <c:pt idx="5">
                  <c:v>2.0457758925415356E-3</c:v>
                </c:pt>
                <c:pt idx="6">
                  <c:v>2.5435960881347963E-3</c:v>
                </c:pt>
                <c:pt idx="7">
                  <c:v>3.2240485448332768E-3</c:v>
                </c:pt>
                <c:pt idx="8">
                  <c:v>4.2079062094968808E-3</c:v>
                </c:pt>
                <c:pt idx="9">
                  <c:v>5.3110639802050235E-3</c:v>
                </c:pt>
                <c:pt idx="10">
                  <c:v>5.576175326970665E-3</c:v>
                </c:pt>
                <c:pt idx="11">
                  <c:v>5.7853187227524493E-3</c:v>
                </c:pt>
                <c:pt idx="12">
                  <c:v>6.9532814893366376E-3</c:v>
                </c:pt>
                <c:pt idx="13">
                  <c:v>8.4585248026393372E-3</c:v>
                </c:pt>
                <c:pt idx="14">
                  <c:v>9.8886532343584379E-3</c:v>
                </c:pt>
                <c:pt idx="15">
                  <c:v>1.1545599151643698E-2</c:v>
                </c:pt>
                <c:pt idx="16">
                  <c:v>1.3189289501590677E-2</c:v>
                </c:pt>
                <c:pt idx="17">
                  <c:v>1.3457346529987048E-2</c:v>
                </c:pt>
                <c:pt idx="18">
                  <c:v>1.3582537999293046E-2</c:v>
                </c:pt>
                <c:pt idx="19">
                  <c:v>1.4697478496524106E-2</c:v>
                </c:pt>
                <c:pt idx="20">
                  <c:v>1.5754978201955944E-2</c:v>
                </c:pt>
                <c:pt idx="21">
                  <c:v>1.6847826086956532E-2</c:v>
                </c:pt>
                <c:pt idx="22">
                  <c:v>1.7796335572051385E-2</c:v>
                </c:pt>
                <c:pt idx="23">
                  <c:v>1.8532755979733723E-2</c:v>
                </c:pt>
                <c:pt idx="24">
                  <c:v>1.8644691881701439E-2</c:v>
                </c:pt>
                <c:pt idx="25">
                  <c:v>1.8702132673500661E-2</c:v>
                </c:pt>
                <c:pt idx="26">
                  <c:v>1.9189642983386369E-2</c:v>
                </c:pt>
                <c:pt idx="27">
                  <c:v>1.9789089195239792E-2</c:v>
                </c:pt>
                <c:pt idx="28">
                  <c:v>2.0233887121479926E-2</c:v>
                </c:pt>
                <c:pt idx="29">
                  <c:v>2.0619771415105469E-2</c:v>
                </c:pt>
                <c:pt idx="30">
                  <c:v>2.0946742076116426E-2</c:v>
                </c:pt>
                <c:pt idx="31">
                  <c:v>2.0973253210792991E-2</c:v>
                </c:pt>
                <c:pt idx="32">
                  <c:v>2.0993872982208096E-2</c:v>
                </c:pt>
                <c:pt idx="33">
                  <c:v>2.1180923765759412E-2</c:v>
                </c:pt>
                <c:pt idx="34">
                  <c:v>2.1395958524802652E-2</c:v>
                </c:pt>
                <c:pt idx="35">
                  <c:v>2.164634146341465E-2</c:v>
                </c:pt>
                <c:pt idx="36">
                  <c:v>2.184812065511961E-2</c:v>
                </c:pt>
                <c:pt idx="37">
                  <c:v>2.2173618475315203E-2</c:v>
                </c:pt>
                <c:pt idx="38">
                  <c:v>2.2194238246730308E-2</c:v>
                </c:pt>
                <c:pt idx="39">
                  <c:v>2.2211912336514684E-2</c:v>
                </c:pt>
                <c:pt idx="40">
                  <c:v>2.2373924826204799E-2</c:v>
                </c:pt>
                <c:pt idx="41">
                  <c:v>2.2603687993401688E-2</c:v>
                </c:pt>
                <c:pt idx="42">
                  <c:v>2.2886473429951707E-2</c:v>
                </c:pt>
                <c:pt idx="43">
                  <c:v>2.3276776246023347E-2</c:v>
                </c:pt>
                <c:pt idx="44">
                  <c:v>2.3652350653941338E-2</c:v>
                </c:pt>
                <c:pt idx="45">
                  <c:v>2.3731884057971032E-2</c:v>
                </c:pt>
                <c:pt idx="46">
                  <c:v>2.3779014964062699E-2</c:v>
                </c:pt>
                <c:pt idx="47">
                  <c:v>2.4064746082243446E-2</c:v>
                </c:pt>
                <c:pt idx="48">
                  <c:v>2.4432956286084617E-2</c:v>
                </c:pt>
                <c:pt idx="49">
                  <c:v>2.4901319665370583E-2</c:v>
                </c:pt>
                <c:pt idx="50">
                  <c:v>2.5581772122069066E-2</c:v>
                </c:pt>
                <c:pt idx="51">
                  <c:v>2.61473429951691E-2</c:v>
                </c:pt>
                <c:pt idx="52">
                  <c:v>2.6251914693059993E-2</c:v>
                </c:pt>
                <c:pt idx="53">
                  <c:v>2.6296099917520934E-2</c:v>
                </c:pt>
                <c:pt idx="54">
                  <c:v>2.678066454577591E-2</c:v>
                </c:pt>
                <c:pt idx="55">
                  <c:v>2.7349181100506676E-2</c:v>
                </c:pt>
                <c:pt idx="56">
                  <c:v>2.8280016495817153E-2</c:v>
                </c:pt>
                <c:pt idx="57">
                  <c:v>2.9260928478850028E-2</c:v>
                </c:pt>
                <c:pt idx="58">
                  <c:v>3.022563921291389E-2</c:v>
                </c:pt>
                <c:pt idx="59">
                  <c:v>3.0343466478143063E-2</c:v>
                </c:pt>
                <c:pt idx="60">
                  <c:v>3.052168021680219E-2</c:v>
                </c:pt>
                <c:pt idx="61">
                  <c:v>3.2492341227760124E-2</c:v>
                </c:pt>
                <c:pt idx="62">
                  <c:v>3.6293743372216358E-2</c:v>
                </c:pt>
                <c:pt idx="63">
                  <c:v>3.9523683280311091E-2</c:v>
                </c:pt>
                <c:pt idx="64">
                  <c:v>4.3045245669848034E-2</c:v>
                </c:pt>
                <c:pt idx="65">
                  <c:v>4.552256392129142E-2</c:v>
                </c:pt>
                <c:pt idx="66">
                  <c:v>4.6722929185813632E-2</c:v>
                </c:pt>
                <c:pt idx="67">
                  <c:v>4.7700895487215775E-2</c:v>
                </c:pt>
                <c:pt idx="68">
                  <c:v>5.0204724873335722E-2</c:v>
                </c:pt>
                <c:pt idx="69">
                  <c:v>5.301048662660543E-2</c:v>
                </c:pt>
                <c:pt idx="70">
                  <c:v>5.5446565335218606E-2</c:v>
                </c:pt>
                <c:pt idx="71">
                  <c:v>5.7959231766230745E-2</c:v>
                </c:pt>
                <c:pt idx="72">
                  <c:v>5.9906327324142847E-2</c:v>
                </c:pt>
                <c:pt idx="73">
                  <c:v>6.0726699658300971E-2</c:v>
                </c:pt>
                <c:pt idx="74">
                  <c:v>6.1162660539648916E-2</c:v>
                </c:pt>
                <c:pt idx="75">
                  <c:v>6.243224932249327E-2</c:v>
                </c:pt>
                <c:pt idx="76">
                  <c:v>6.4463296806881162E-2</c:v>
                </c:pt>
                <c:pt idx="77">
                  <c:v>6.6241015671026318E-2</c:v>
                </c:pt>
                <c:pt idx="78">
                  <c:v>6.7914162837280592E-2</c:v>
                </c:pt>
                <c:pt idx="79">
                  <c:v>6.9990868386944793E-2</c:v>
                </c:pt>
                <c:pt idx="80">
                  <c:v>7.0550547896783361E-2</c:v>
                </c:pt>
                <c:pt idx="81">
                  <c:v>7.078031106398025E-2</c:v>
                </c:pt>
                <c:pt idx="82">
                  <c:v>7.2055791210086068E-2</c:v>
                </c:pt>
                <c:pt idx="83">
                  <c:v>7.3332744197007235E-2</c:v>
                </c:pt>
                <c:pt idx="84">
                  <c:v>7.479969364911046E-2</c:v>
                </c:pt>
                <c:pt idx="85">
                  <c:v>7.6247496170613938E-2</c:v>
                </c:pt>
                <c:pt idx="86">
                  <c:v>7.8001649581713267E-2</c:v>
                </c:pt>
                <c:pt idx="87">
                  <c:v>7.8430246258984385E-2</c:v>
                </c:pt>
                <c:pt idx="88">
                  <c:v>7.8792565099564088E-2</c:v>
                </c:pt>
                <c:pt idx="89">
                  <c:v>8.0308118298574344E-2</c:v>
                </c:pt>
                <c:pt idx="90">
                  <c:v>8.2165370566749205E-2</c:v>
                </c:pt>
                <c:pt idx="91">
                  <c:v>8.3988747496170676E-2</c:v>
                </c:pt>
                <c:pt idx="92">
                  <c:v>8.5943207258159598E-2</c:v>
                </c:pt>
                <c:pt idx="93">
                  <c:v>8.6417462000707018E-2</c:v>
                </c:pt>
                <c:pt idx="94">
                  <c:v>8.6670790620949748E-2</c:v>
                </c:pt>
                <c:pt idx="95">
                  <c:v>8.6818074702486217E-2</c:v>
                </c:pt>
                <c:pt idx="96">
                  <c:v>8.6965358784022687E-2</c:v>
                </c:pt>
                <c:pt idx="97">
                  <c:v>8.8248203134205311E-2</c:v>
                </c:pt>
                <c:pt idx="98">
                  <c:v>9.0089254153411166E-2</c:v>
                </c:pt>
                <c:pt idx="99">
                  <c:v>9.3285318722752503E-2</c:v>
                </c:pt>
                <c:pt idx="100">
                  <c:v>9.6519677153293335E-2</c:v>
                </c:pt>
                <c:pt idx="101">
                  <c:v>9.7802521503475973E-2</c:v>
                </c:pt>
                <c:pt idx="102">
                  <c:v>9.8524213503004665E-2</c:v>
                </c:pt>
                <c:pt idx="103">
                  <c:v>0.10218127724755516</c:v>
                </c:pt>
                <c:pt idx="104">
                  <c:v>0.10558501237186292</c:v>
                </c:pt>
                <c:pt idx="105">
                  <c:v>0.10923618475315196</c:v>
                </c:pt>
                <c:pt idx="106">
                  <c:v>0.11416431012136216</c:v>
                </c:pt>
                <c:pt idx="107">
                  <c:v>0.11930452456698488</c:v>
                </c:pt>
                <c:pt idx="108">
                  <c:v>0.12076410981501128</c:v>
                </c:pt>
                <c:pt idx="109">
                  <c:v>0.12176711441027462</c:v>
                </c:pt>
                <c:pt idx="110">
                  <c:v>0.12605308118298583</c:v>
                </c:pt>
                <c:pt idx="111">
                  <c:v>0.13042889124543428</c:v>
                </c:pt>
                <c:pt idx="112">
                  <c:v>0.13531724991162963</c:v>
                </c:pt>
                <c:pt idx="113">
                  <c:v>0.14069311888771072</c:v>
                </c:pt>
                <c:pt idx="114">
                  <c:v>0.1463517733003418</c:v>
                </c:pt>
                <c:pt idx="115">
                  <c:v>0.14892188052315317</c:v>
                </c:pt>
                <c:pt idx="116">
                  <c:v>0.15303847060209744</c:v>
                </c:pt>
                <c:pt idx="117">
                  <c:v>0.16539707788382244</c:v>
                </c:pt>
                <c:pt idx="118">
                  <c:v>0.18309915164369048</c:v>
                </c:pt>
                <c:pt idx="119">
                  <c:v>0.20698862966890552</c:v>
                </c:pt>
                <c:pt idx="120">
                  <c:v>0.23916431012136224</c:v>
                </c:pt>
                <c:pt idx="121">
                  <c:v>0.27015435371745039</c:v>
                </c:pt>
                <c:pt idx="122">
                  <c:v>0.27998556616000964</c:v>
                </c:pt>
                <c:pt idx="123">
                  <c:v>0.28840432426063412</c:v>
                </c:pt>
                <c:pt idx="124">
                  <c:v>0.3197257570401793</c:v>
                </c:pt>
                <c:pt idx="125">
                  <c:v>0.34509396724402053</c:v>
                </c:pt>
                <c:pt idx="126">
                  <c:v>0.37359343702132697</c:v>
                </c:pt>
                <c:pt idx="127">
                  <c:v>0.39913838812301194</c:v>
                </c:pt>
                <c:pt idx="128">
                  <c:v>0.42331065158477699</c:v>
                </c:pt>
                <c:pt idx="129">
                  <c:v>0.43012990455991545</c:v>
                </c:pt>
                <c:pt idx="130">
                  <c:v>0.43588134794391453</c:v>
                </c:pt>
                <c:pt idx="131">
                  <c:v>0.45242135030045982</c:v>
                </c:pt>
                <c:pt idx="132">
                  <c:v>0.46864616472251713</c:v>
                </c:pt>
                <c:pt idx="133">
                  <c:v>0.4825527277011904</c:v>
                </c:pt>
                <c:pt idx="134">
                  <c:v>0.49537086131730917</c:v>
                </c:pt>
                <c:pt idx="135">
                  <c:v>0.50664545775892578</c:v>
                </c:pt>
                <c:pt idx="136">
                  <c:v>0.51042034876870546</c:v>
                </c:pt>
                <c:pt idx="137">
                  <c:v>0.51330858960763559</c:v>
                </c:pt>
                <c:pt idx="138">
                  <c:v>0.52075085424767331</c:v>
                </c:pt>
                <c:pt idx="139">
                  <c:v>0.52840226228349274</c:v>
                </c:pt>
                <c:pt idx="140">
                  <c:v>0.53557352421350335</c:v>
                </c:pt>
                <c:pt idx="141">
                  <c:v>0.54244138093554883</c:v>
                </c:pt>
                <c:pt idx="142">
                  <c:v>0.54819135147873255</c:v>
                </c:pt>
                <c:pt idx="143">
                  <c:v>0.55097943914221792</c:v>
                </c:pt>
                <c:pt idx="144">
                  <c:v>0.55287793095322291</c:v>
                </c:pt>
                <c:pt idx="145">
                  <c:v>0.55679568752209296</c:v>
                </c:pt>
                <c:pt idx="146">
                  <c:v>0.56114498644986488</c:v>
                </c:pt>
                <c:pt idx="147">
                  <c:v>0.56658418758100659</c:v>
                </c:pt>
                <c:pt idx="148">
                  <c:v>0.57138417579828016</c:v>
                </c:pt>
                <c:pt idx="149">
                  <c:v>0.57559797337103846</c:v>
                </c:pt>
                <c:pt idx="150">
                  <c:v>0.57706639566395701</c:v>
                </c:pt>
                <c:pt idx="151">
                  <c:v>0.57810916696123527</c:v>
                </c:pt>
                <c:pt idx="152">
                  <c:v>0.5813611994815604</c:v>
                </c:pt>
                <c:pt idx="153">
                  <c:v>0.58509337810769457</c:v>
                </c:pt>
                <c:pt idx="154">
                  <c:v>0.58908624955814815</c:v>
                </c:pt>
                <c:pt idx="155">
                  <c:v>0.59296865794744946</c:v>
                </c:pt>
                <c:pt idx="156">
                  <c:v>0.59647843761046349</c:v>
                </c:pt>
                <c:pt idx="157">
                  <c:v>0.5977981029810302</c:v>
                </c:pt>
                <c:pt idx="158">
                  <c:v>0.59860963827029612</c:v>
                </c:pt>
                <c:pt idx="159">
                  <c:v>0.601751207729469</c:v>
                </c:pt>
                <c:pt idx="160">
                  <c:v>0.60513285024154628</c:v>
                </c:pt>
                <c:pt idx="161">
                  <c:v>0.60761016849298966</c:v>
                </c:pt>
                <c:pt idx="162">
                  <c:v>0.60994314834452734</c:v>
                </c:pt>
                <c:pt idx="163">
                  <c:v>0.61227612819606503</c:v>
                </c:pt>
                <c:pt idx="164">
                  <c:v>0.6146091080476026</c:v>
                </c:pt>
                <c:pt idx="165">
                  <c:v>0.61694208789914029</c:v>
                </c:pt>
                <c:pt idx="166">
                  <c:v>0.61927506775067798</c:v>
                </c:pt>
                <c:pt idx="167">
                  <c:v>0.62160804760221555</c:v>
                </c:pt>
                <c:pt idx="168">
                  <c:v>0.62394102745375324</c:v>
                </c:pt>
                <c:pt idx="169">
                  <c:v>0.62627400730529093</c:v>
                </c:pt>
                <c:pt idx="170">
                  <c:v>0.6286069871568285</c:v>
                </c:pt>
                <c:pt idx="171">
                  <c:v>0.63093996700836619</c:v>
                </c:pt>
                <c:pt idx="172">
                  <c:v>0.63327294685990376</c:v>
                </c:pt>
                <c:pt idx="173">
                  <c:v>0.63560592671144145</c:v>
                </c:pt>
                <c:pt idx="174">
                  <c:v>0.63793890656297914</c:v>
                </c:pt>
                <c:pt idx="175">
                  <c:v>0.64027188641451671</c:v>
                </c:pt>
                <c:pt idx="176">
                  <c:v>0.6426048662660544</c:v>
                </c:pt>
                <c:pt idx="177">
                  <c:v>0.64493784611759208</c:v>
                </c:pt>
                <c:pt idx="178">
                  <c:v>0.64727082596912966</c:v>
                </c:pt>
                <c:pt idx="179">
                  <c:v>0.64960380582066735</c:v>
                </c:pt>
                <c:pt idx="180">
                  <c:v>0.65193678567220503</c:v>
                </c:pt>
                <c:pt idx="181">
                  <c:v>0.65426976552374261</c:v>
                </c:pt>
                <c:pt idx="182">
                  <c:v>0.65660274537528029</c:v>
                </c:pt>
                <c:pt idx="183">
                  <c:v>0.66010221515258671</c:v>
                </c:pt>
                <c:pt idx="184">
                  <c:v>0.66360168492989324</c:v>
                </c:pt>
                <c:pt idx="185">
                  <c:v>0.66710115470719966</c:v>
                </c:pt>
                <c:pt idx="186">
                  <c:v>0.67060062448450619</c:v>
                </c:pt>
                <c:pt idx="187">
                  <c:v>0.67410009426181261</c:v>
                </c:pt>
                <c:pt idx="188">
                  <c:v>0.67759956403911914</c:v>
                </c:pt>
                <c:pt idx="189">
                  <c:v>0.68109903381642556</c:v>
                </c:pt>
                <c:pt idx="190">
                  <c:v>0.68459850359373209</c:v>
                </c:pt>
                <c:pt idx="191">
                  <c:v>0.68809797337103851</c:v>
                </c:pt>
                <c:pt idx="192">
                  <c:v>0.69159744314834504</c:v>
                </c:pt>
                <c:pt idx="193">
                  <c:v>0.69509691292565146</c:v>
                </c:pt>
                <c:pt idx="194">
                  <c:v>0.69859638270295799</c:v>
                </c:pt>
                <c:pt idx="195">
                  <c:v>0.7020958524802644</c:v>
                </c:pt>
                <c:pt idx="196">
                  <c:v>0.70559532225757093</c:v>
                </c:pt>
                <c:pt idx="197">
                  <c:v>0.70909479203487735</c:v>
                </c:pt>
                <c:pt idx="198">
                  <c:v>0.71259426181218388</c:v>
                </c:pt>
                <c:pt idx="199">
                  <c:v>0.7160937315894903</c:v>
                </c:pt>
                <c:pt idx="200">
                  <c:v>0.71959320136679672</c:v>
                </c:pt>
                <c:pt idx="201">
                  <c:v>0.72309267114410325</c:v>
                </c:pt>
                <c:pt idx="202">
                  <c:v>0.72659214092140967</c:v>
                </c:pt>
                <c:pt idx="203">
                  <c:v>0.7300916106987162</c:v>
                </c:pt>
                <c:pt idx="204">
                  <c:v>0.73359108047602262</c:v>
                </c:pt>
                <c:pt idx="205">
                  <c:v>0.73709055025332915</c:v>
                </c:pt>
                <c:pt idx="206">
                  <c:v>0.74059002003063557</c:v>
                </c:pt>
                <c:pt idx="207">
                  <c:v>0.74408948980794209</c:v>
                </c:pt>
                <c:pt idx="208">
                  <c:v>0.74758895958524851</c:v>
                </c:pt>
                <c:pt idx="209">
                  <c:v>0.75108842936255504</c:v>
                </c:pt>
                <c:pt idx="210">
                  <c:v>0.75458789913986146</c:v>
                </c:pt>
                <c:pt idx="211">
                  <c:v>0.75808736891716799</c:v>
                </c:pt>
                <c:pt idx="212">
                  <c:v>0.76158683869447441</c:v>
                </c:pt>
                <c:pt idx="213">
                  <c:v>0.76508630847178094</c:v>
                </c:pt>
                <c:pt idx="214">
                  <c:v>0.77850094261812242</c:v>
                </c:pt>
                <c:pt idx="215">
                  <c:v>0.79191557676446389</c:v>
                </c:pt>
                <c:pt idx="216">
                  <c:v>0.80533021091080537</c:v>
                </c:pt>
                <c:pt idx="217">
                  <c:v>0.80533021091080537</c:v>
                </c:pt>
                <c:pt idx="218">
                  <c:v>0.80533021091080537</c:v>
                </c:pt>
                <c:pt idx="219">
                  <c:v>0.80533021091080537</c:v>
                </c:pt>
                <c:pt idx="220">
                  <c:v>0.80533021091080537</c:v>
                </c:pt>
                <c:pt idx="221">
                  <c:v>0.80533021091080537</c:v>
                </c:pt>
                <c:pt idx="222">
                  <c:v>0.80533021091080537</c:v>
                </c:pt>
                <c:pt idx="223">
                  <c:v>0.80533021091080537</c:v>
                </c:pt>
                <c:pt idx="224">
                  <c:v>0.80533021091080537</c:v>
                </c:pt>
                <c:pt idx="225">
                  <c:v>0.80533021091080537</c:v>
                </c:pt>
                <c:pt idx="226">
                  <c:v>0.80533021091080537</c:v>
                </c:pt>
                <c:pt idx="227">
                  <c:v>0.80533021091080537</c:v>
                </c:pt>
                <c:pt idx="228">
                  <c:v>0.80533021091080537</c:v>
                </c:pt>
                <c:pt idx="229">
                  <c:v>0.80533021091080537</c:v>
                </c:pt>
                <c:pt idx="230">
                  <c:v>0.80533021091080537</c:v>
                </c:pt>
                <c:pt idx="231">
                  <c:v>0.80533021091080537</c:v>
                </c:pt>
                <c:pt idx="232">
                  <c:v>0.80533021091080537</c:v>
                </c:pt>
                <c:pt idx="233">
                  <c:v>0.80533021091080537</c:v>
                </c:pt>
                <c:pt idx="234">
                  <c:v>0.80533021091080537</c:v>
                </c:pt>
                <c:pt idx="235">
                  <c:v>0.80533021091080537</c:v>
                </c:pt>
                <c:pt idx="236">
                  <c:v>0.80533021091080537</c:v>
                </c:pt>
                <c:pt idx="237">
                  <c:v>0.80533021091080537</c:v>
                </c:pt>
                <c:pt idx="238">
                  <c:v>0.80533021091080537</c:v>
                </c:pt>
                <c:pt idx="239">
                  <c:v>0.80533021091080537</c:v>
                </c:pt>
                <c:pt idx="240">
                  <c:v>0.80533021091080537</c:v>
                </c:pt>
                <c:pt idx="241">
                  <c:v>0.80533021091080537</c:v>
                </c:pt>
                <c:pt idx="242">
                  <c:v>0.80533021091080537</c:v>
                </c:pt>
                <c:pt idx="243">
                  <c:v>0.80533021091080537</c:v>
                </c:pt>
                <c:pt idx="244">
                  <c:v>0.805330210910805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6-F267-42C6-AC42-927B0F02AEC7}"/>
            </c:ext>
          </c:extLst>
        </c:ser>
        <c:ser>
          <c:idx val="10"/>
          <c:order val="10"/>
          <c:tx>
            <c:strRef>
              <c:f>List1!$L$1</c:f>
              <c:strCache>
                <c:ptCount val="1"/>
                <c:pt idx="0">
                  <c:v>14 65-69</c:v>
                </c:pt>
              </c:strCache>
            </c:strRef>
          </c:tx>
          <c:spPr>
            <a:ln w="2857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L$5:$L$249</c:f>
              <c:numCache>
                <c:formatCode>0.00%</c:formatCode>
                <c:ptCount val="245"/>
                <c:pt idx="0">
                  <c:v>8.2065823261395809E-4</c:v>
                </c:pt>
                <c:pt idx="1">
                  <c:v>9.10371767003656E-4</c:v>
                </c:pt>
                <c:pt idx="2">
                  <c:v>9.2802033114589174E-4</c:v>
                </c:pt>
                <c:pt idx="3">
                  <c:v>1.0015560150718737E-3</c:v>
                </c:pt>
                <c:pt idx="4">
                  <c:v>1.0633259895696985E-3</c:v>
                </c:pt>
                <c:pt idx="5">
                  <c:v>1.3486444432025083E-3</c:v>
                </c:pt>
                <c:pt idx="6">
                  <c:v>1.6795550208694267E-3</c:v>
                </c:pt>
                <c:pt idx="7">
                  <c:v>2.0972377055690039E-3</c:v>
                </c:pt>
                <c:pt idx="8">
                  <c:v>2.6458139076568289E-3</c:v>
                </c:pt>
                <c:pt idx="9">
                  <c:v>3.3076350629906662E-3</c:v>
                </c:pt>
                <c:pt idx="10">
                  <c:v>3.523829973733053E-3</c:v>
                </c:pt>
                <c:pt idx="11">
                  <c:v>3.7164934656191257E-3</c:v>
                </c:pt>
                <c:pt idx="12">
                  <c:v>4.3959631850951988E-3</c:v>
                </c:pt>
                <c:pt idx="13">
                  <c:v>5.4342870421300628E-3</c:v>
                </c:pt>
                <c:pt idx="14">
                  <c:v>6.54467586941239E-3</c:v>
                </c:pt>
                <c:pt idx="15">
                  <c:v>7.8359624791526326E-3</c:v>
                </c:pt>
                <c:pt idx="16">
                  <c:v>9.0345941271461373E-3</c:v>
                </c:pt>
                <c:pt idx="17">
                  <c:v>9.2787325977803977E-3</c:v>
                </c:pt>
                <c:pt idx="18">
                  <c:v>9.4037432604545668E-3</c:v>
                </c:pt>
                <c:pt idx="19">
                  <c:v>1.0278817899173752E-2</c:v>
                </c:pt>
                <c:pt idx="20">
                  <c:v>1.1121536836965503E-2</c:v>
                </c:pt>
                <c:pt idx="21">
                  <c:v>1.1945136496936501E-2</c:v>
                </c:pt>
                <c:pt idx="22">
                  <c:v>1.2786384721049735E-2</c:v>
                </c:pt>
                <c:pt idx="23">
                  <c:v>1.3424674457527257E-2</c:v>
                </c:pt>
                <c:pt idx="24">
                  <c:v>1.3517329419273994E-2</c:v>
                </c:pt>
                <c:pt idx="25">
                  <c:v>1.3582040821128859E-2</c:v>
                </c:pt>
                <c:pt idx="26">
                  <c:v>1.3970309232258043E-2</c:v>
                </c:pt>
                <c:pt idx="27">
                  <c:v>1.454977042159478E-2</c:v>
                </c:pt>
                <c:pt idx="28">
                  <c:v>1.4914507413867651E-2</c:v>
                </c:pt>
                <c:pt idx="29">
                  <c:v>1.5223357286356775E-2</c:v>
                </c:pt>
                <c:pt idx="30">
                  <c:v>1.5486615034811789E-2</c:v>
                </c:pt>
                <c:pt idx="31">
                  <c:v>1.552632430413182E-2</c:v>
                </c:pt>
                <c:pt idx="32">
                  <c:v>1.5539560727238498E-2</c:v>
                </c:pt>
                <c:pt idx="33">
                  <c:v>1.5707222086589735E-2</c:v>
                </c:pt>
                <c:pt idx="34">
                  <c:v>1.5910180574225444E-2</c:v>
                </c:pt>
                <c:pt idx="35">
                  <c:v>1.6121963343932275E-2</c:v>
                </c:pt>
                <c:pt idx="36">
                  <c:v>1.6336687540996139E-2</c:v>
                </c:pt>
                <c:pt idx="37">
                  <c:v>1.6569060302202242E-2</c:v>
                </c:pt>
                <c:pt idx="38">
                  <c:v>1.6583767438987439E-2</c:v>
                </c:pt>
                <c:pt idx="39">
                  <c:v>1.6592591721058557E-2</c:v>
                </c:pt>
                <c:pt idx="40">
                  <c:v>1.6717602383732728E-2</c:v>
                </c:pt>
                <c:pt idx="41">
                  <c:v>1.6930855867118073E-2</c:v>
                </c:pt>
                <c:pt idx="42">
                  <c:v>1.7147050777860461E-2</c:v>
                </c:pt>
                <c:pt idx="43">
                  <c:v>1.7497080633348136E-2</c:v>
                </c:pt>
                <c:pt idx="44">
                  <c:v>1.7869171194013603E-2</c:v>
                </c:pt>
                <c:pt idx="45">
                  <c:v>1.7930941168511429E-2</c:v>
                </c:pt>
                <c:pt idx="46">
                  <c:v>1.7978004006224058E-2</c:v>
                </c:pt>
                <c:pt idx="47">
                  <c:v>1.8267734600892427E-2</c:v>
                </c:pt>
                <c:pt idx="48">
                  <c:v>1.8628059452129739E-2</c:v>
                </c:pt>
                <c:pt idx="49">
                  <c:v>1.9066332128328589E-2</c:v>
                </c:pt>
                <c:pt idx="50">
                  <c:v>1.972079971526983E-2</c:v>
                </c:pt>
                <c:pt idx="51">
                  <c:v>2.0264963776322094E-2</c:v>
                </c:pt>
                <c:pt idx="52">
                  <c:v>2.036203087910439E-2</c:v>
                </c:pt>
                <c:pt idx="53">
                  <c:v>2.0395857293710344E-2</c:v>
                </c:pt>
                <c:pt idx="54">
                  <c:v>2.0832659256230675E-2</c:v>
                </c:pt>
                <c:pt idx="55">
                  <c:v>2.1397413308782216E-2</c:v>
                </c:pt>
                <c:pt idx="56">
                  <c:v>2.2169537990005025E-2</c:v>
                </c:pt>
                <c:pt idx="57">
                  <c:v>2.3093146180115359E-2</c:v>
                </c:pt>
                <c:pt idx="58">
                  <c:v>2.4078524344723518E-2</c:v>
                </c:pt>
                <c:pt idx="59">
                  <c:v>2.4172650020148772E-2</c:v>
                </c:pt>
                <c:pt idx="60">
                  <c:v>2.426677569557403E-2</c:v>
                </c:pt>
                <c:pt idx="61">
                  <c:v>2.5658070835453607E-2</c:v>
                </c:pt>
                <c:pt idx="62">
                  <c:v>2.775677925470113E-2</c:v>
                </c:pt>
                <c:pt idx="63">
                  <c:v>2.9974615481908745E-2</c:v>
                </c:pt>
                <c:pt idx="64">
                  <c:v>3.2361583782146118E-2</c:v>
                </c:pt>
                <c:pt idx="65">
                  <c:v>3.4149971615225996E-2</c:v>
                </c:pt>
                <c:pt idx="66">
                  <c:v>3.4994161266696272E-2</c:v>
                </c:pt>
                <c:pt idx="67">
                  <c:v>3.5932476593591799E-2</c:v>
                </c:pt>
                <c:pt idx="68">
                  <c:v>3.7479667383394456E-2</c:v>
                </c:pt>
                <c:pt idx="69">
                  <c:v>3.9300410917401774E-2</c:v>
                </c:pt>
                <c:pt idx="70">
                  <c:v>4.1203514417406183E-2</c:v>
                </c:pt>
                <c:pt idx="71">
                  <c:v>4.3324283541831501E-2</c:v>
                </c:pt>
                <c:pt idx="72">
                  <c:v>4.5546531910074677E-2</c:v>
                </c:pt>
                <c:pt idx="73">
                  <c:v>4.6158348800338846E-2</c:v>
                </c:pt>
                <c:pt idx="74">
                  <c:v>4.6553970779860628E-2</c:v>
                </c:pt>
                <c:pt idx="75">
                  <c:v>4.8061452300343255E-2</c:v>
                </c:pt>
                <c:pt idx="76">
                  <c:v>5.0160160719590778E-2</c:v>
                </c:pt>
                <c:pt idx="77">
                  <c:v>5.2213277014804195E-2</c:v>
                </c:pt>
                <c:pt idx="78">
                  <c:v>5.4391403972691779E-2</c:v>
                </c:pt>
                <c:pt idx="79">
                  <c:v>5.6743075144644682E-2</c:v>
                </c:pt>
                <c:pt idx="80">
                  <c:v>5.7369599171694048E-2</c:v>
                </c:pt>
                <c:pt idx="81">
                  <c:v>5.7578440514043837E-2</c:v>
                </c:pt>
                <c:pt idx="82">
                  <c:v>5.9291821949519215E-2</c:v>
                </c:pt>
                <c:pt idx="83">
                  <c:v>6.1324348253233352E-2</c:v>
                </c:pt>
                <c:pt idx="84">
                  <c:v>6.3661312288401065E-2</c:v>
                </c:pt>
                <c:pt idx="85">
                  <c:v>6.5926211353321301E-2</c:v>
                </c:pt>
                <c:pt idx="86">
                  <c:v>6.851613814119438E-2</c:v>
                </c:pt>
                <c:pt idx="87">
                  <c:v>6.9133837886172639E-2</c:v>
                </c:pt>
                <c:pt idx="88">
                  <c:v>6.9875077580146536E-2</c:v>
                </c:pt>
                <c:pt idx="89">
                  <c:v>7.2625312158978259E-2</c:v>
                </c:pt>
                <c:pt idx="90">
                  <c:v>7.5643216627300544E-2</c:v>
                </c:pt>
                <c:pt idx="91">
                  <c:v>7.8744951775298472E-2</c:v>
                </c:pt>
                <c:pt idx="92">
                  <c:v>8.2189363210391456E-2</c:v>
                </c:pt>
                <c:pt idx="93">
                  <c:v>8.3227687067426323E-2</c:v>
                </c:pt>
                <c:pt idx="94">
                  <c:v>8.3724788290765961E-2</c:v>
                </c:pt>
                <c:pt idx="95">
                  <c:v>8.3995399607613583E-2</c:v>
                </c:pt>
                <c:pt idx="96">
                  <c:v>8.4254245215033038E-2</c:v>
                </c:pt>
                <c:pt idx="97">
                  <c:v>8.6469140014883608E-2</c:v>
                </c:pt>
                <c:pt idx="98">
                  <c:v>8.9890020031120288E-2</c:v>
                </c:pt>
                <c:pt idx="99">
                  <c:v>9.5530206988243105E-2</c:v>
                </c:pt>
                <c:pt idx="100">
                  <c:v>0.10140570813392906</c:v>
                </c:pt>
                <c:pt idx="101">
                  <c:v>0.10377502787002418</c:v>
                </c:pt>
                <c:pt idx="102">
                  <c:v>0.10501336878733772</c:v>
                </c:pt>
                <c:pt idx="103">
                  <c:v>0.11204485088434012</c:v>
                </c:pt>
                <c:pt idx="104">
                  <c:v>0.11896750016913206</c:v>
                </c:pt>
                <c:pt idx="105">
                  <c:v>0.12799621144156412</c:v>
                </c:pt>
                <c:pt idx="106">
                  <c:v>0.1425092140211959</c:v>
                </c:pt>
                <c:pt idx="107">
                  <c:v>0.15497645387400688</c:v>
                </c:pt>
                <c:pt idx="108">
                  <c:v>0.16103873565686483</c:v>
                </c:pt>
                <c:pt idx="109">
                  <c:v>0.16469640057534315</c:v>
                </c:pt>
                <c:pt idx="110">
                  <c:v>0.18622323668783511</c:v>
                </c:pt>
                <c:pt idx="111">
                  <c:v>0.20848395892590835</c:v>
                </c:pt>
                <c:pt idx="112">
                  <c:v>0.23903362345611828</c:v>
                </c:pt>
                <c:pt idx="113">
                  <c:v>0.27521759208873692</c:v>
                </c:pt>
                <c:pt idx="114">
                  <c:v>0.30359795394313038</c:v>
                </c:pt>
                <c:pt idx="115">
                  <c:v>0.31522394557182815</c:v>
                </c:pt>
                <c:pt idx="116">
                  <c:v>0.32429824896829429</c:v>
                </c:pt>
                <c:pt idx="117">
                  <c:v>0.35799818219789331</c:v>
                </c:pt>
                <c:pt idx="118">
                  <c:v>0.38725214797732743</c:v>
                </c:pt>
                <c:pt idx="119">
                  <c:v>0.42067264560800766</c:v>
                </c:pt>
                <c:pt idx="120">
                  <c:v>0.44987660712237215</c:v>
                </c:pt>
                <c:pt idx="121">
                  <c:v>0.47185495233416958</c:v>
                </c:pt>
                <c:pt idx="122">
                  <c:v>0.47701421591841647</c:v>
                </c:pt>
                <c:pt idx="123">
                  <c:v>0.4836868438778601</c:v>
                </c:pt>
                <c:pt idx="124">
                  <c:v>0.50205899914992735</c:v>
                </c:pt>
                <c:pt idx="125">
                  <c:v>0.51938400628288872</c:v>
                </c:pt>
                <c:pt idx="126">
                  <c:v>0.53665165558238781</c:v>
                </c:pt>
                <c:pt idx="127">
                  <c:v>0.55361192572307627</c:v>
                </c:pt>
                <c:pt idx="128">
                  <c:v>0.56674539887225661</c:v>
                </c:pt>
                <c:pt idx="129">
                  <c:v>0.57143844622041284</c:v>
                </c:pt>
                <c:pt idx="130">
                  <c:v>0.5750593432969282</c:v>
                </c:pt>
                <c:pt idx="131">
                  <c:v>0.58653973427145245</c:v>
                </c:pt>
                <c:pt idx="132">
                  <c:v>0.59916434048786504</c:v>
                </c:pt>
                <c:pt idx="133">
                  <c:v>0.61056090078271374</c:v>
                </c:pt>
                <c:pt idx="134">
                  <c:v>0.62099120219077497</c:v>
                </c:pt>
                <c:pt idx="135">
                  <c:v>0.62831682702348135</c:v>
                </c:pt>
                <c:pt idx="136">
                  <c:v>0.63153621926576076</c:v>
                </c:pt>
                <c:pt idx="137">
                  <c:v>0.63400407681831672</c:v>
                </c:pt>
                <c:pt idx="138">
                  <c:v>0.64099879107335611</c:v>
                </c:pt>
                <c:pt idx="139">
                  <c:v>0.6482038173844239</c:v>
                </c:pt>
                <c:pt idx="140">
                  <c:v>0.65523382876774772</c:v>
                </c:pt>
                <c:pt idx="141">
                  <c:v>0.66185056960740762</c:v>
                </c:pt>
                <c:pt idx="142">
                  <c:v>0.66656567766074148</c:v>
                </c:pt>
                <c:pt idx="143">
                  <c:v>0.66865114965688244</c:v>
                </c:pt>
                <c:pt idx="144">
                  <c:v>0.67007332978401091</c:v>
                </c:pt>
                <c:pt idx="145">
                  <c:v>0.67369863900156179</c:v>
                </c:pt>
                <c:pt idx="146">
                  <c:v>0.67772398233967002</c:v>
                </c:pt>
                <c:pt idx="147">
                  <c:v>0.6827597059749213</c:v>
                </c:pt>
                <c:pt idx="148">
                  <c:v>0.68750275758814716</c:v>
                </c:pt>
                <c:pt idx="149">
                  <c:v>0.69083980692470814</c:v>
                </c:pt>
                <c:pt idx="150">
                  <c:v>0.69214727138491217</c:v>
                </c:pt>
                <c:pt idx="151">
                  <c:v>0.69300616817316762</c:v>
                </c:pt>
                <c:pt idx="152">
                  <c:v>0.69597553909009879</c:v>
                </c:pt>
                <c:pt idx="153">
                  <c:v>0.69950966405958148</c:v>
                </c:pt>
                <c:pt idx="154">
                  <c:v>0.70329528106809103</c:v>
                </c:pt>
                <c:pt idx="155">
                  <c:v>0.70687793958896483</c:v>
                </c:pt>
                <c:pt idx="156">
                  <c:v>0.70944139353062452</c:v>
                </c:pt>
                <c:pt idx="157">
                  <c:v>0.7106209059007973</c:v>
                </c:pt>
                <c:pt idx="158">
                  <c:v>0.71132978989384377</c:v>
                </c:pt>
                <c:pt idx="159">
                  <c:v>0.71425062725938382</c:v>
                </c:pt>
                <c:pt idx="160">
                  <c:v>0.71724500030884974</c:v>
                </c:pt>
                <c:pt idx="161">
                  <c:v>0.71964373431851525</c:v>
                </c:pt>
                <c:pt idx="162">
                  <c:v>0.72174832559247692</c:v>
                </c:pt>
                <c:pt idx="163">
                  <c:v>0.72385291686643849</c:v>
                </c:pt>
                <c:pt idx="164">
                  <c:v>0.72595750814040005</c:v>
                </c:pt>
                <c:pt idx="165">
                  <c:v>0.72806209941436173</c:v>
                </c:pt>
                <c:pt idx="166">
                  <c:v>0.73016669068832329</c:v>
                </c:pt>
                <c:pt idx="167">
                  <c:v>0.73227128196228486</c:v>
                </c:pt>
                <c:pt idx="168">
                  <c:v>0.73437587323624653</c:v>
                </c:pt>
                <c:pt idx="169">
                  <c:v>0.7364804645102081</c:v>
                </c:pt>
                <c:pt idx="170">
                  <c:v>0.73858505578416966</c:v>
                </c:pt>
                <c:pt idx="171">
                  <c:v>0.74068964705813134</c:v>
                </c:pt>
                <c:pt idx="172">
                  <c:v>0.7427942383320929</c:v>
                </c:pt>
                <c:pt idx="173">
                  <c:v>0.74489882960605447</c:v>
                </c:pt>
                <c:pt idx="174">
                  <c:v>0.74700342088001614</c:v>
                </c:pt>
                <c:pt idx="175">
                  <c:v>0.74910801215397771</c:v>
                </c:pt>
                <c:pt idx="176">
                  <c:v>0.75121260342793927</c:v>
                </c:pt>
                <c:pt idx="177">
                  <c:v>0.75331719470190095</c:v>
                </c:pt>
                <c:pt idx="178">
                  <c:v>0.75542178597586251</c:v>
                </c:pt>
                <c:pt idx="179">
                  <c:v>0.75752637724982408</c:v>
                </c:pt>
                <c:pt idx="180">
                  <c:v>0.75963096852378575</c:v>
                </c:pt>
                <c:pt idx="181">
                  <c:v>0.76173555979774732</c:v>
                </c:pt>
                <c:pt idx="182">
                  <c:v>0.76384015107170888</c:v>
                </c:pt>
                <c:pt idx="183">
                  <c:v>0.76699630262581209</c:v>
                </c:pt>
                <c:pt idx="184">
                  <c:v>0.77015245417991518</c:v>
                </c:pt>
                <c:pt idx="185">
                  <c:v>0.77330860573401838</c:v>
                </c:pt>
                <c:pt idx="186">
                  <c:v>0.77646475728812148</c:v>
                </c:pt>
                <c:pt idx="187">
                  <c:v>0.77962090884222468</c:v>
                </c:pt>
                <c:pt idx="188">
                  <c:v>0.78277706039632777</c:v>
                </c:pt>
                <c:pt idx="189">
                  <c:v>0.78593321195043098</c:v>
                </c:pt>
                <c:pt idx="190">
                  <c:v>0.78908936350453407</c:v>
                </c:pt>
                <c:pt idx="191">
                  <c:v>0.79224551505863727</c:v>
                </c:pt>
                <c:pt idx="192">
                  <c:v>0.79540166661274037</c:v>
                </c:pt>
                <c:pt idx="193">
                  <c:v>0.79855781816684346</c:v>
                </c:pt>
                <c:pt idx="194">
                  <c:v>0.80171396972094666</c:v>
                </c:pt>
                <c:pt idx="195">
                  <c:v>0.80171396972094666</c:v>
                </c:pt>
                <c:pt idx="196">
                  <c:v>0.80171396972094666</c:v>
                </c:pt>
                <c:pt idx="197">
                  <c:v>0.80171396972094666</c:v>
                </c:pt>
                <c:pt idx="198">
                  <c:v>0.80171396972094666</c:v>
                </c:pt>
                <c:pt idx="199">
                  <c:v>0.80171396972094666</c:v>
                </c:pt>
                <c:pt idx="200">
                  <c:v>0.80171396972094666</c:v>
                </c:pt>
                <c:pt idx="201">
                  <c:v>0.80171396972094666</c:v>
                </c:pt>
                <c:pt idx="202">
                  <c:v>0.80171396972094666</c:v>
                </c:pt>
                <c:pt idx="203">
                  <c:v>0.80171396972094666</c:v>
                </c:pt>
                <c:pt idx="204">
                  <c:v>0.80171396972094666</c:v>
                </c:pt>
                <c:pt idx="205">
                  <c:v>0.80171396972094666</c:v>
                </c:pt>
                <c:pt idx="206">
                  <c:v>0.80171396972094666</c:v>
                </c:pt>
                <c:pt idx="207">
                  <c:v>0.80171396972094666</c:v>
                </c:pt>
                <c:pt idx="208">
                  <c:v>0.80171396972094666</c:v>
                </c:pt>
                <c:pt idx="209">
                  <c:v>0.80171396972094666</c:v>
                </c:pt>
                <c:pt idx="210">
                  <c:v>0.80171396972094666</c:v>
                </c:pt>
                <c:pt idx="211">
                  <c:v>0.80171396972094666</c:v>
                </c:pt>
                <c:pt idx="212">
                  <c:v>0.80171396972094666</c:v>
                </c:pt>
                <c:pt idx="213">
                  <c:v>0.80171396972094666</c:v>
                </c:pt>
                <c:pt idx="214">
                  <c:v>0.80171396972094666</c:v>
                </c:pt>
                <c:pt idx="215">
                  <c:v>0.80171396972094666</c:v>
                </c:pt>
                <c:pt idx="216">
                  <c:v>0.80171396972094666</c:v>
                </c:pt>
                <c:pt idx="217">
                  <c:v>0.80171396972094666</c:v>
                </c:pt>
                <c:pt idx="218">
                  <c:v>0.80171396972094666</c:v>
                </c:pt>
                <c:pt idx="219">
                  <c:v>0.80171396972094666</c:v>
                </c:pt>
                <c:pt idx="220">
                  <c:v>0.80171396972094666</c:v>
                </c:pt>
                <c:pt idx="221">
                  <c:v>0.80171396972094666</c:v>
                </c:pt>
                <c:pt idx="222">
                  <c:v>0.80171396972094666</c:v>
                </c:pt>
                <c:pt idx="223">
                  <c:v>0.80171396972094666</c:v>
                </c:pt>
                <c:pt idx="224">
                  <c:v>0.80171396972094666</c:v>
                </c:pt>
                <c:pt idx="225">
                  <c:v>0.80171396972094666</c:v>
                </c:pt>
                <c:pt idx="226">
                  <c:v>0.80171396972094666</c:v>
                </c:pt>
                <c:pt idx="227">
                  <c:v>0.80171396972094666</c:v>
                </c:pt>
                <c:pt idx="228">
                  <c:v>0.80171396972094666</c:v>
                </c:pt>
                <c:pt idx="229">
                  <c:v>0.80171396972094666</c:v>
                </c:pt>
                <c:pt idx="230">
                  <c:v>0.80171396972094666</c:v>
                </c:pt>
                <c:pt idx="231">
                  <c:v>0.80171396972094666</c:v>
                </c:pt>
                <c:pt idx="232">
                  <c:v>0.80171396972094666</c:v>
                </c:pt>
                <c:pt idx="233">
                  <c:v>0.80171396972094666</c:v>
                </c:pt>
                <c:pt idx="234">
                  <c:v>0.80171396972094666</c:v>
                </c:pt>
                <c:pt idx="235">
                  <c:v>0.80171396972094666</c:v>
                </c:pt>
                <c:pt idx="236">
                  <c:v>0.80171396972094666</c:v>
                </c:pt>
                <c:pt idx="237">
                  <c:v>0.80171396972094666</c:v>
                </c:pt>
                <c:pt idx="238">
                  <c:v>0.80171396972094666</c:v>
                </c:pt>
                <c:pt idx="239">
                  <c:v>0.80171396972094666</c:v>
                </c:pt>
                <c:pt idx="240">
                  <c:v>0.80171396972094666</c:v>
                </c:pt>
                <c:pt idx="241">
                  <c:v>0.80171396972094666</c:v>
                </c:pt>
                <c:pt idx="242">
                  <c:v>0.80171396972094666</c:v>
                </c:pt>
                <c:pt idx="243">
                  <c:v>0.80171396972094666</c:v>
                </c:pt>
                <c:pt idx="244">
                  <c:v>0.801713969720946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F267-42C6-AC42-927B0F02AEC7}"/>
            </c:ext>
          </c:extLst>
        </c:ser>
        <c:ser>
          <c:idx val="11"/>
          <c:order val="11"/>
          <c:tx>
            <c:strRef>
              <c:f>List1!$M$1</c:f>
              <c:strCache>
                <c:ptCount val="1"/>
                <c:pt idx="0">
                  <c:v>15 70-74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M$5:$M$249</c:f>
              <c:numCache>
                <c:formatCode>0.00%</c:formatCode>
                <c:ptCount val="245"/>
                <c:pt idx="0">
                  <c:v>5.475754950641917E-4</c:v>
                </c:pt>
                <c:pt idx="1">
                  <c:v>6.3912062426996989E-4</c:v>
                </c:pt>
                <c:pt idx="2">
                  <c:v>6.4929230529283408E-4</c:v>
                </c:pt>
                <c:pt idx="3">
                  <c:v>6.9167430955476841E-4</c:v>
                </c:pt>
                <c:pt idx="4">
                  <c:v>7.2727519313479331E-4</c:v>
                </c:pt>
                <c:pt idx="5">
                  <c:v>8.9002208950062119E-4</c:v>
                </c:pt>
                <c:pt idx="6">
                  <c:v>1.0578548263778811E-3</c:v>
                </c:pt>
                <c:pt idx="7">
                  <c:v>1.3375760545066477E-3</c:v>
                </c:pt>
                <c:pt idx="8">
                  <c:v>1.7749583384898103E-3</c:v>
                </c:pt>
                <c:pt idx="9">
                  <c:v>2.2665895879282485E-3</c:v>
                </c:pt>
                <c:pt idx="10">
                  <c:v>2.4496798463398048E-3</c:v>
                </c:pt>
                <c:pt idx="11">
                  <c:v>2.6005597815122912E-3</c:v>
                </c:pt>
                <c:pt idx="12">
                  <c:v>3.0464184663478405E-3</c:v>
                </c:pt>
                <c:pt idx="13">
                  <c:v>3.8279426249379096E-3</c:v>
                </c:pt>
                <c:pt idx="14">
                  <c:v>4.9519133779644085E-3</c:v>
                </c:pt>
                <c:pt idx="15">
                  <c:v>6.2199829454814837E-3</c:v>
                </c:pt>
                <c:pt idx="16">
                  <c:v>7.3219150562917768E-3</c:v>
                </c:pt>
                <c:pt idx="17">
                  <c:v>7.5965504439091114E-3</c:v>
                </c:pt>
                <c:pt idx="18">
                  <c:v>7.7287822972063464E-3</c:v>
                </c:pt>
                <c:pt idx="19">
                  <c:v>8.5221734169897579E-3</c:v>
                </c:pt>
                <c:pt idx="20">
                  <c:v>9.2850494937045756E-3</c:v>
                </c:pt>
                <c:pt idx="21">
                  <c:v>1.0114041497068011E-2</c:v>
                </c:pt>
                <c:pt idx="22">
                  <c:v>1.0954900461624789E-2</c:v>
                </c:pt>
                <c:pt idx="23">
                  <c:v>1.1653355891861466E-2</c:v>
                </c:pt>
                <c:pt idx="24">
                  <c:v>1.1794064146011089E-2</c:v>
                </c:pt>
                <c:pt idx="25">
                  <c:v>1.1865265913171138E-2</c:v>
                </c:pt>
                <c:pt idx="26">
                  <c:v>1.2243313391187591E-2</c:v>
                </c:pt>
                <c:pt idx="27">
                  <c:v>1.2646790071761208E-2</c:v>
                </c:pt>
                <c:pt idx="28">
                  <c:v>1.3036704510971003E-2</c:v>
                </c:pt>
                <c:pt idx="29">
                  <c:v>1.3345245501997885E-2</c:v>
                </c:pt>
                <c:pt idx="30">
                  <c:v>1.3543593281943737E-2</c:v>
                </c:pt>
                <c:pt idx="31">
                  <c:v>1.3565631924159943E-2</c:v>
                </c:pt>
                <c:pt idx="32">
                  <c:v>1.3594451687058058E-2</c:v>
                </c:pt>
                <c:pt idx="33">
                  <c:v>1.378093250581057E-2</c:v>
                </c:pt>
                <c:pt idx="34">
                  <c:v>1.3982670846097377E-2</c:v>
                </c:pt>
                <c:pt idx="35">
                  <c:v>1.4194580867407049E-2</c:v>
                </c:pt>
                <c:pt idx="36">
                  <c:v>1.4418357849910062E-2</c:v>
                </c:pt>
                <c:pt idx="37">
                  <c:v>1.4692993237527397E-2</c:v>
                </c:pt>
                <c:pt idx="38">
                  <c:v>1.4715031879743603E-2</c:v>
                </c:pt>
                <c:pt idx="39">
                  <c:v>1.4747242202982673E-2</c:v>
                </c:pt>
                <c:pt idx="40">
                  <c:v>1.4935418301905661E-2</c:v>
                </c:pt>
                <c:pt idx="41">
                  <c:v>1.5191405607647744E-2</c:v>
                </c:pt>
                <c:pt idx="42">
                  <c:v>1.5406706189298371E-2</c:v>
                </c:pt>
                <c:pt idx="43">
                  <c:v>1.5822049831065329E-2</c:v>
                </c:pt>
                <c:pt idx="44">
                  <c:v>1.6250955714196103E-2</c:v>
                </c:pt>
                <c:pt idx="45">
                  <c:v>1.6320462201185677E-2</c:v>
                </c:pt>
                <c:pt idx="46">
                  <c:v>1.6352672524424745E-2</c:v>
                </c:pt>
                <c:pt idx="47">
                  <c:v>1.6696814399031652E-2</c:v>
                </c:pt>
                <c:pt idx="48">
                  <c:v>1.7146063644208155E-2</c:v>
                </c:pt>
                <c:pt idx="49">
                  <c:v>1.7681772178079008E-2</c:v>
                </c:pt>
                <c:pt idx="50">
                  <c:v>1.8403961530702367E-2</c:v>
                </c:pt>
                <c:pt idx="51">
                  <c:v>1.8992223749858015E-2</c:v>
                </c:pt>
                <c:pt idx="52">
                  <c:v>1.9095635840257138E-2</c:v>
                </c:pt>
                <c:pt idx="53">
                  <c:v>1.9122760322984773E-2</c:v>
                </c:pt>
                <c:pt idx="54">
                  <c:v>1.9583876529354619E-2</c:v>
                </c:pt>
                <c:pt idx="55">
                  <c:v>2.0122975623566425E-2</c:v>
                </c:pt>
                <c:pt idx="56">
                  <c:v>2.0963834588123204E-2</c:v>
                </c:pt>
                <c:pt idx="57">
                  <c:v>2.210136758251352E-2</c:v>
                </c:pt>
                <c:pt idx="58">
                  <c:v>2.3569480210146924E-2</c:v>
                </c:pt>
                <c:pt idx="59">
                  <c:v>2.3822076955548055E-2</c:v>
                </c:pt>
                <c:pt idx="60">
                  <c:v>2.3933965446799561E-2</c:v>
                </c:pt>
                <c:pt idx="61">
                  <c:v>2.6117486306374418E-2</c:v>
                </c:pt>
                <c:pt idx="62">
                  <c:v>3.0043755181200015E-2</c:v>
                </c:pt>
                <c:pt idx="63">
                  <c:v>3.5505947890478111E-2</c:v>
                </c:pt>
                <c:pt idx="64">
                  <c:v>4.1888677732325422E-2</c:v>
                </c:pt>
                <c:pt idx="65">
                  <c:v>4.8198510526842209E-2</c:v>
                </c:pt>
                <c:pt idx="66">
                  <c:v>5.1962032505301979E-2</c:v>
                </c:pt>
                <c:pt idx="67">
                  <c:v>5.596289370762858E-2</c:v>
                </c:pt>
                <c:pt idx="68">
                  <c:v>6.4791912835474738E-2</c:v>
                </c:pt>
                <c:pt idx="69">
                  <c:v>7.5122950194363852E-2</c:v>
                </c:pt>
                <c:pt idx="70">
                  <c:v>8.975321806558359E-2</c:v>
                </c:pt>
                <c:pt idx="71">
                  <c:v>0.10712305869229476</c:v>
                </c:pt>
                <c:pt idx="72">
                  <c:v>0.12400635391007893</c:v>
                </c:pt>
                <c:pt idx="73">
                  <c:v>0.13185041525887772</c:v>
                </c:pt>
                <c:pt idx="74">
                  <c:v>0.13675316551189828</c:v>
                </c:pt>
                <c:pt idx="75">
                  <c:v>0.15187845519289742</c:v>
                </c:pt>
                <c:pt idx="76">
                  <c:v>0.17114192377003182</c:v>
                </c:pt>
                <c:pt idx="77">
                  <c:v>0.19221086572872462</c:v>
                </c:pt>
                <c:pt idx="78">
                  <c:v>0.21391723303151691</c:v>
                </c:pt>
                <c:pt idx="79">
                  <c:v>0.23097683738703073</c:v>
                </c:pt>
                <c:pt idx="80">
                  <c:v>0.23881920345565905</c:v>
                </c:pt>
                <c:pt idx="81">
                  <c:v>0.24262002159786933</c:v>
                </c:pt>
                <c:pt idx="82">
                  <c:v>0.25638230602180462</c:v>
                </c:pt>
                <c:pt idx="83">
                  <c:v>0.27164830395695339</c:v>
                </c:pt>
                <c:pt idx="84">
                  <c:v>0.28704822902556987</c:v>
                </c:pt>
                <c:pt idx="85">
                  <c:v>0.30127502021621599</c:v>
                </c:pt>
                <c:pt idx="86">
                  <c:v>0.31216889059170355</c:v>
                </c:pt>
                <c:pt idx="87">
                  <c:v>0.31681226297864112</c:v>
                </c:pt>
                <c:pt idx="88">
                  <c:v>0.31956031213498493</c:v>
                </c:pt>
                <c:pt idx="89">
                  <c:v>0.32886740027090572</c:v>
                </c:pt>
                <c:pt idx="90">
                  <c:v>0.34097848180879609</c:v>
                </c:pt>
                <c:pt idx="91">
                  <c:v>0.3518384465808741</c:v>
                </c:pt>
                <c:pt idx="92">
                  <c:v>0.36485650300996986</c:v>
                </c:pt>
                <c:pt idx="93">
                  <c:v>0.3675740371232451</c:v>
                </c:pt>
                <c:pt idx="94">
                  <c:v>0.36921167776792624</c:v>
                </c:pt>
                <c:pt idx="95">
                  <c:v>0.3707340393610149</c:v>
                </c:pt>
                <c:pt idx="96">
                  <c:v>0.37216824638523877</c:v>
                </c:pt>
                <c:pt idx="97">
                  <c:v>0.38098878911223255</c:v>
                </c:pt>
                <c:pt idx="98">
                  <c:v>0.39287778894779035</c:v>
                </c:pt>
                <c:pt idx="99">
                  <c:v>0.41514868454735165</c:v>
                </c:pt>
                <c:pt idx="100">
                  <c:v>0.43648548077297988</c:v>
                </c:pt>
                <c:pt idx="101">
                  <c:v>0.44549250431872617</c:v>
                </c:pt>
                <c:pt idx="102">
                  <c:v>0.45257877543132158</c:v>
                </c:pt>
                <c:pt idx="103">
                  <c:v>0.47729596031688165</c:v>
                </c:pt>
                <c:pt idx="104">
                  <c:v>0.49949395886911241</c:v>
                </c:pt>
                <c:pt idx="105">
                  <c:v>0.52418571455211538</c:v>
                </c:pt>
                <c:pt idx="106">
                  <c:v>0.55107963917656844</c:v>
                </c:pt>
                <c:pt idx="107">
                  <c:v>0.57205364544571446</c:v>
                </c:pt>
                <c:pt idx="108">
                  <c:v>0.57896021686023924</c:v>
                </c:pt>
                <c:pt idx="109">
                  <c:v>0.58548535023640669</c:v>
                </c:pt>
                <c:pt idx="110">
                  <c:v>0.60206179974333451</c:v>
                </c:pt>
                <c:pt idx="111">
                  <c:v>0.61639878414506166</c:v>
                </c:pt>
                <c:pt idx="112">
                  <c:v>0.6292286644752344</c:v>
                </c:pt>
                <c:pt idx="113">
                  <c:v>0.64343172174349383</c:v>
                </c:pt>
                <c:pt idx="114">
                  <c:v>0.65467990567461121</c:v>
                </c:pt>
                <c:pt idx="115">
                  <c:v>0.65836374948505849</c:v>
                </c:pt>
                <c:pt idx="116">
                  <c:v>0.66101008183117371</c:v>
                </c:pt>
                <c:pt idx="117">
                  <c:v>0.67052568942806323</c:v>
                </c:pt>
                <c:pt idx="118">
                  <c:v>0.67945812064630851</c:v>
                </c:pt>
                <c:pt idx="119">
                  <c:v>0.68895168960098174</c:v>
                </c:pt>
                <c:pt idx="120">
                  <c:v>0.69816723260769675</c:v>
                </c:pt>
                <c:pt idx="121">
                  <c:v>0.70551796742688666</c:v>
                </c:pt>
                <c:pt idx="122">
                  <c:v>0.7074844924246404</c:v>
                </c:pt>
                <c:pt idx="123">
                  <c:v>0.70914586699170823</c:v>
                </c:pt>
                <c:pt idx="124">
                  <c:v>0.71566930508770521</c:v>
                </c:pt>
                <c:pt idx="125">
                  <c:v>0.72289458917427973</c:v>
                </c:pt>
                <c:pt idx="126">
                  <c:v>0.73051148298023461</c:v>
                </c:pt>
                <c:pt idx="127">
                  <c:v>0.73843013665653434</c:v>
                </c:pt>
                <c:pt idx="128">
                  <c:v>0.74445177182207001</c:v>
                </c:pt>
                <c:pt idx="129">
                  <c:v>0.74655391923346193</c:v>
                </c:pt>
                <c:pt idx="130">
                  <c:v>0.74822716076172313</c:v>
                </c:pt>
                <c:pt idx="131">
                  <c:v>0.75395042661725475</c:v>
                </c:pt>
                <c:pt idx="132">
                  <c:v>0.76012972283864477</c:v>
                </c:pt>
                <c:pt idx="133">
                  <c:v>0.76572753796156101</c:v>
                </c:pt>
                <c:pt idx="134">
                  <c:v>0.77133552476550027</c:v>
                </c:pt>
                <c:pt idx="135">
                  <c:v>0.77504310249833419</c:v>
                </c:pt>
                <c:pt idx="136">
                  <c:v>0.77661462721636676</c:v>
                </c:pt>
                <c:pt idx="137">
                  <c:v>0.77790812598644099</c:v>
                </c:pt>
                <c:pt idx="138">
                  <c:v>0.78126986656449759</c:v>
                </c:pt>
                <c:pt idx="139">
                  <c:v>0.78530124280989277</c:v>
                </c:pt>
                <c:pt idx="140">
                  <c:v>0.7893410954561404</c:v>
                </c:pt>
                <c:pt idx="141">
                  <c:v>0.79318429560261261</c:v>
                </c:pt>
                <c:pt idx="142">
                  <c:v>0.79593234475895647</c:v>
                </c:pt>
                <c:pt idx="143">
                  <c:v>0.79717668040408685</c:v>
                </c:pt>
                <c:pt idx="144">
                  <c:v>0.7979921101660864</c:v>
                </c:pt>
                <c:pt idx="145">
                  <c:v>0.80023835639196894</c:v>
                </c:pt>
                <c:pt idx="146">
                  <c:v>0.80294063298370988</c:v>
                </c:pt>
                <c:pt idx="147">
                  <c:v>0.806343060285858</c:v>
                </c:pt>
                <c:pt idx="148">
                  <c:v>0.80933692506692101</c:v>
                </c:pt>
                <c:pt idx="149">
                  <c:v>0.81155604681007587</c:v>
                </c:pt>
                <c:pt idx="150">
                  <c:v>0.81233078984798401</c:v>
                </c:pt>
                <c:pt idx="151">
                  <c:v>0.8128292022181044</c:v>
                </c:pt>
                <c:pt idx="152">
                  <c:v>0.8147872508150058</c:v>
                </c:pt>
                <c:pt idx="153">
                  <c:v>0.81715894777350362</c:v>
                </c:pt>
                <c:pt idx="154">
                  <c:v>0.81981884236098268</c:v>
                </c:pt>
                <c:pt idx="155">
                  <c:v>0.8224177068623244</c:v>
                </c:pt>
                <c:pt idx="156">
                  <c:v>0.82443339498502199</c:v>
                </c:pt>
                <c:pt idx="157">
                  <c:v>0.82522339554446444</c:v>
                </c:pt>
                <c:pt idx="158">
                  <c:v>0.82573028431543727</c:v>
                </c:pt>
                <c:pt idx="159">
                  <c:v>0.82775783939932812</c:v>
                </c:pt>
                <c:pt idx="160">
                  <c:v>0.83003629594844974</c:v>
                </c:pt>
                <c:pt idx="161">
                  <c:v>0.83191127581699775</c:v>
                </c:pt>
                <c:pt idx="162">
                  <c:v>0.83191127581699775</c:v>
                </c:pt>
                <c:pt idx="163">
                  <c:v>0.83191127581699775</c:v>
                </c:pt>
                <c:pt idx="164">
                  <c:v>0.83191127581699775</c:v>
                </c:pt>
                <c:pt idx="165">
                  <c:v>0.83191127581699775</c:v>
                </c:pt>
                <c:pt idx="166">
                  <c:v>0.83191127581699775</c:v>
                </c:pt>
                <c:pt idx="167">
                  <c:v>0.83191127581699775</c:v>
                </c:pt>
                <c:pt idx="168">
                  <c:v>0.83191127581699775</c:v>
                </c:pt>
                <c:pt idx="169">
                  <c:v>0.83191127581699775</c:v>
                </c:pt>
                <c:pt idx="170">
                  <c:v>0.83191127581699775</c:v>
                </c:pt>
                <c:pt idx="171">
                  <c:v>0.83191127581699775</c:v>
                </c:pt>
                <c:pt idx="172">
                  <c:v>0.83191127581699775</c:v>
                </c:pt>
                <c:pt idx="173">
                  <c:v>0.83191127581699775</c:v>
                </c:pt>
                <c:pt idx="174">
                  <c:v>0.83191127581699775</c:v>
                </c:pt>
                <c:pt idx="175">
                  <c:v>0.83191127581699775</c:v>
                </c:pt>
                <c:pt idx="176">
                  <c:v>0.83191127581699775</c:v>
                </c:pt>
                <c:pt idx="177">
                  <c:v>0.83191127581699775</c:v>
                </c:pt>
                <c:pt idx="178">
                  <c:v>0.83191127581699775</c:v>
                </c:pt>
                <c:pt idx="179">
                  <c:v>0.83191127581699775</c:v>
                </c:pt>
                <c:pt idx="180">
                  <c:v>0.83191127581699775</c:v>
                </c:pt>
                <c:pt idx="181">
                  <c:v>0.83191127581699775</c:v>
                </c:pt>
                <c:pt idx="182">
                  <c:v>0.83191127581699775</c:v>
                </c:pt>
                <c:pt idx="183">
                  <c:v>0.83191127581699775</c:v>
                </c:pt>
                <c:pt idx="184">
                  <c:v>0.83191127581699775</c:v>
                </c:pt>
                <c:pt idx="185">
                  <c:v>0.83191127581699775</c:v>
                </c:pt>
                <c:pt idx="186">
                  <c:v>0.83191127581699775</c:v>
                </c:pt>
                <c:pt idx="187">
                  <c:v>0.83191127581699775</c:v>
                </c:pt>
                <c:pt idx="188">
                  <c:v>0.83191127581699775</c:v>
                </c:pt>
                <c:pt idx="189">
                  <c:v>0.83191127581699775</c:v>
                </c:pt>
                <c:pt idx="190">
                  <c:v>0.83191127581699775</c:v>
                </c:pt>
                <c:pt idx="191">
                  <c:v>0.83191127581699775</c:v>
                </c:pt>
                <c:pt idx="192">
                  <c:v>0.83191127581699775</c:v>
                </c:pt>
                <c:pt idx="193">
                  <c:v>0.83191127581699775</c:v>
                </c:pt>
                <c:pt idx="194">
                  <c:v>0.83191127581699775</c:v>
                </c:pt>
                <c:pt idx="195">
                  <c:v>0.83191127581699775</c:v>
                </c:pt>
                <c:pt idx="196">
                  <c:v>0.83191127581699775</c:v>
                </c:pt>
                <c:pt idx="197">
                  <c:v>0.83191127581699775</c:v>
                </c:pt>
                <c:pt idx="198">
                  <c:v>0.83191127581699775</c:v>
                </c:pt>
                <c:pt idx="199">
                  <c:v>0.83191127581699775</c:v>
                </c:pt>
                <c:pt idx="200">
                  <c:v>0.83191127581699775</c:v>
                </c:pt>
                <c:pt idx="201">
                  <c:v>0.83191127581699775</c:v>
                </c:pt>
                <c:pt idx="202">
                  <c:v>0.83191127581699775</c:v>
                </c:pt>
                <c:pt idx="203">
                  <c:v>0.83191127581699775</c:v>
                </c:pt>
                <c:pt idx="204">
                  <c:v>0.83191127581699775</c:v>
                </c:pt>
                <c:pt idx="205">
                  <c:v>0.83191127581699775</c:v>
                </c:pt>
                <c:pt idx="206">
                  <c:v>0.83191127581699775</c:v>
                </c:pt>
                <c:pt idx="207">
                  <c:v>0.83191127581699775</c:v>
                </c:pt>
                <c:pt idx="208">
                  <c:v>0.83191127581699775</c:v>
                </c:pt>
                <c:pt idx="209">
                  <c:v>0.83191127581699775</c:v>
                </c:pt>
                <c:pt idx="210">
                  <c:v>0.83191127581699775</c:v>
                </c:pt>
                <c:pt idx="211">
                  <c:v>0.83191127581699775</c:v>
                </c:pt>
                <c:pt idx="212">
                  <c:v>0.83191127581699775</c:v>
                </c:pt>
                <c:pt idx="213">
                  <c:v>0.83191127581699775</c:v>
                </c:pt>
                <c:pt idx="214">
                  <c:v>0.83191127581699775</c:v>
                </c:pt>
                <c:pt idx="215">
                  <c:v>0.83191127581699775</c:v>
                </c:pt>
                <c:pt idx="216">
                  <c:v>0.83191127581699775</c:v>
                </c:pt>
                <c:pt idx="217">
                  <c:v>0.83191127581699775</c:v>
                </c:pt>
                <c:pt idx="218">
                  <c:v>0.83191127581699775</c:v>
                </c:pt>
                <c:pt idx="219">
                  <c:v>0.83191127581699775</c:v>
                </c:pt>
                <c:pt idx="220">
                  <c:v>0.83191127581699775</c:v>
                </c:pt>
                <c:pt idx="221">
                  <c:v>0.83191127581699775</c:v>
                </c:pt>
                <c:pt idx="222">
                  <c:v>0.83191127581699775</c:v>
                </c:pt>
                <c:pt idx="223">
                  <c:v>0.83191127581699775</c:v>
                </c:pt>
                <c:pt idx="224">
                  <c:v>0.83191127581699775</c:v>
                </c:pt>
                <c:pt idx="225">
                  <c:v>0.83191127581699775</c:v>
                </c:pt>
                <c:pt idx="226">
                  <c:v>0.83191127581699775</c:v>
                </c:pt>
                <c:pt idx="227">
                  <c:v>0.83191127581699775</c:v>
                </c:pt>
                <c:pt idx="228">
                  <c:v>0.83191127581699775</c:v>
                </c:pt>
                <c:pt idx="229">
                  <c:v>0.83191127581699775</c:v>
                </c:pt>
                <c:pt idx="230">
                  <c:v>0.83191127581699775</c:v>
                </c:pt>
                <c:pt idx="231">
                  <c:v>0.83191127581699775</c:v>
                </c:pt>
                <c:pt idx="232">
                  <c:v>0.83191127581699775</c:v>
                </c:pt>
                <c:pt idx="233">
                  <c:v>0.83191127581699775</c:v>
                </c:pt>
                <c:pt idx="234">
                  <c:v>0.83191127581699775</c:v>
                </c:pt>
                <c:pt idx="235">
                  <c:v>0.83191127581699775</c:v>
                </c:pt>
                <c:pt idx="236">
                  <c:v>0.83191127581699775</c:v>
                </c:pt>
                <c:pt idx="237">
                  <c:v>0.83191127581699775</c:v>
                </c:pt>
                <c:pt idx="238">
                  <c:v>0.83191127581699775</c:v>
                </c:pt>
                <c:pt idx="239">
                  <c:v>0.83191127581699775</c:v>
                </c:pt>
                <c:pt idx="240">
                  <c:v>0.83191127581699775</c:v>
                </c:pt>
                <c:pt idx="241">
                  <c:v>0.83191127581699775</c:v>
                </c:pt>
                <c:pt idx="242">
                  <c:v>0.83191127581699775</c:v>
                </c:pt>
                <c:pt idx="243">
                  <c:v>0.83191127581699775</c:v>
                </c:pt>
                <c:pt idx="244">
                  <c:v>0.831911275816997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8-F267-42C6-AC42-927B0F02AEC7}"/>
            </c:ext>
          </c:extLst>
        </c:ser>
        <c:ser>
          <c:idx val="12"/>
          <c:order val="12"/>
          <c:tx>
            <c:strRef>
              <c:f>List1!$N$1</c:f>
              <c:strCache>
                <c:ptCount val="1"/>
                <c:pt idx="0">
                  <c:v>16 75-79</c:v>
                </c:pt>
              </c:strCache>
            </c:strRef>
          </c:tx>
          <c:spPr>
            <a:ln w="2857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N$5:$N$249</c:f>
              <c:numCache>
                <c:formatCode>0.00%</c:formatCode>
                <c:ptCount val="245"/>
                <c:pt idx="0">
                  <c:v>4.2459526693496908E-4</c:v>
                </c:pt>
                <c:pt idx="1">
                  <c:v>5.7307336641529568E-4</c:v>
                </c:pt>
                <c:pt idx="2">
                  <c:v>5.7828312429179839E-4</c:v>
                </c:pt>
                <c:pt idx="3">
                  <c:v>6.1735630836556854E-4</c:v>
                </c:pt>
                <c:pt idx="4">
                  <c:v>6.3819533987157927E-4</c:v>
                </c:pt>
                <c:pt idx="5">
                  <c:v>7.2936610271037629E-4</c:v>
                </c:pt>
                <c:pt idx="6">
                  <c:v>8.5961004962294347E-4</c:v>
                </c:pt>
                <c:pt idx="7">
                  <c:v>1.0471613331770402E-3</c:v>
                </c:pt>
                <c:pt idx="8">
                  <c:v>1.5551127261360523E-3</c:v>
                </c:pt>
                <c:pt idx="9">
                  <c:v>2.1177665767983427E-3</c:v>
                </c:pt>
                <c:pt idx="10">
                  <c:v>2.3027129814141879E-3</c:v>
                </c:pt>
                <c:pt idx="11">
                  <c:v>2.4642154755857714E-3</c:v>
                </c:pt>
                <c:pt idx="12">
                  <c:v>2.969561989606532E-3</c:v>
                </c:pt>
                <c:pt idx="13">
                  <c:v>4.1104989645606204E-3</c:v>
                </c:pt>
                <c:pt idx="14">
                  <c:v>5.5119238333398435E-3</c:v>
                </c:pt>
                <c:pt idx="15">
                  <c:v>7.2571927219682447E-3</c:v>
                </c:pt>
                <c:pt idx="16">
                  <c:v>8.7784420219070292E-3</c:v>
                </c:pt>
                <c:pt idx="17">
                  <c:v>9.2759738991130356E-3</c:v>
                </c:pt>
                <c:pt idx="18">
                  <c:v>9.6146081610857109E-3</c:v>
                </c:pt>
                <c:pt idx="19">
                  <c:v>1.0778989046484061E-2</c:v>
                </c:pt>
                <c:pt idx="20">
                  <c:v>1.180531134815509E-2</c:v>
                </c:pt>
                <c:pt idx="21">
                  <c:v>1.3105145938342512E-2</c:v>
                </c:pt>
                <c:pt idx="22">
                  <c:v>1.4566483022701516E-2</c:v>
                </c:pt>
                <c:pt idx="23">
                  <c:v>1.5579780929681288E-2</c:v>
                </c:pt>
                <c:pt idx="24">
                  <c:v>1.583505906562992E-2</c:v>
                </c:pt>
                <c:pt idx="25">
                  <c:v>1.5999166438739755E-2</c:v>
                </c:pt>
                <c:pt idx="26">
                  <c:v>1.6600893473475816E-2</c:v>
                </c:pt>
                <c:pt idx="27">
                  <c:v>1.7366727881321712E-2</c:v>
                </c:pt>
                <c:pt idx="28">
                  <c:v>1.7984084189687277E-2</c:v>
                </c:pt>
                <c:pt idx="29">
                  <c:v>1.8408679456622248E-2</c:v>
                </c:pt>
                <c:pt idx="30">
                  <c:v>1.8794201539483447E-2</c:v>
                </c:pt>
                <c:pt idx="31">
                  <c:v>1.8828064965680714E-2</c:v>
                </c:pt>
                <c:pt idx="32">
                  <c:v>1.885932351293973E-2</c:v>
                </c:pt>
                <c:pt idx="33">
                  <c:v>1.9161489469776888E-2</c:v>
                </c:pt>
                <c:pt idx="34">
                  <c:v>1.9427187121478524E-2</c:v>
                </c:pt>
                <c:pt idx="35">
                  <c:v>1.9703304288933167E-2</c:v>
                </c:pt>
                <c:pt idx="36">
                  <c:v>2.0107060524362123E-2</c:v>
                </c:pt>
                <c:pt idx="37">
                  <c:v>2.0573333854309116E-2</c:v>
                </c:pt>
                <c:pt idx="38">
                  <c:v>2.0612407038382886E-2</c:v>
                </c:pt>
                <c:pt idx="39">
                  <c:v>2.0669714375024413E-2</c:v>
                </c:pt>
                <c:pt idx="40">
                  <c:v>2.1081285247268128E-2</c:v>
                </c:pt>
                <c:pt idx="41">
                  <c:v>2.159444639810364E-2</c:v>
                </c:pt>
                <c:pt idx="42">
                  <c:v>2.2060719728050633E-2</c:v>
                </c:pt>
                <c:pt idx="43">
                  <c:v>2.2769246799254999E-2</c:v>
                </c:pt>
                <c:pt idx="44">
                  <c:v>2.3584573906927669E-2</c:v>
                </c:pt>
                <c:pt idx="45">
                  <c:v>2.3675744669766467E-2</c:v>
                </c:pt>
                <c:pt idx="46">
                  <c:v>2.3720027611716737E-2</c:v>
                </c:pt>
                <c:pt idx="47">
                  <c:v>2.422797900467575E-2</c:v>
                </c:pt>
                <c:pt idx="48">
                  <c:v>2.5014652444027657E-2</c:v>
                </c:pt>
                <c:pt idx="49">
                  <c:v>2.593417470923038E-2</c:v>
                </c:pt>
                <c:pt idx="50">
                  <c:v>2.6905794553198133E-2</c:v>
                </c:pt>
                <c:pt idx="51">
                  <c:v>2.7989424191510692E-2</c:v>
                </c:pt>
                <c:pt idx="52">
                  <c:v>2.8143112048867519E-2</c:v>
                </c:pt>
                <c:pt idx="53">
                  <c:v>2.8226468174891564E-2</c:v>
                </c:pt>
                <c:pt idx="54">
                  <c:v>2.8914156214589919E-2</c:v>
                </c:pt>
                <c:pt idx="55">
                  <c:v>2.9815444327224883E-2</c:v>
                </c:pt>
                <c:pt idx="56">
                  <c:v>3.1266361895830881E-2</c:v>
                </c:pt>
                <c:pt idx="57">
                  <c:v>3.3063728363224312E-2</c:v>
                </c:pt>
                <c:pt idx="58">
                  <c:v>3.5392490134021008E-2</c:v>
                </c:pt>
                <c:pt idx="59">
                  <c:v>3.5772802459005708E-2</c:v>
                </c:pt>
                <c:pt idx="60">
                  <c:v>3.5910861042733028E-2</c:v>
                </c:pt>
                <c:pt idx="61">
                  <c:v>3.9044530405449397E-2</c:v>
                </c:pt>
                <c:pt idx="62">
                  <c:v>4.6335586553614909E-2</c:v>
                </c:pt>
                <c:pt idx="63">
                  <c:v>6.0964586670834452E-2</c:v>
                </c:pt>
                <c:pt idx="64">
                  <c:v>8.2407950090519516E-2</c:v>
                </c:pt>
                <c:pt idx="65">
                  <c:v>0.10271037653525049</c:v>
                </c:pt>
                <c:pt idx="66">
                  <c:v>0.10983732531030617</c:v>
                </c:pt>
                <c:pt idx="67">
                  <c:v>0.11565141510048317</c:v>
                </c:pt>
                <c:pt idx="68">
                  <c:v>0.13775902264942233</c:v>
                </c:pt>
                <c:pt idx="69">
                  <c:v>0.1664726031857669</c:v>
                </c:pt>
                <c:pt idx="70">
                  <c:v>0.20197970799307097</c:v>
                </c:pt>
                <c:pt idx="71">
                  <c:v>0.23863556441214387</c:v>
                </c:pt>
                <c:pt idx="72">
                  <c:v>0.26934969197306546</c:v>
                </c:pt>
                <c:pt idx="73">
                  <c:v>0.28433556050482545</c:v>
                </c:pt>
                <c:pt idx="74">
                  <c:v>0.29647950611495322</c:v>
                </c:pt>
                <c:pt idx="75">
                  <c:v>0.3183188111332525</c:v>
                </c:pt>
                <c:pt idx="76">
                  <c:v>0.34659477200797084</c:v>
                </c:pt>
                <c:pt idx="77">
                  <c:v>0.37311243959936952</c:v>
                </c:pt>
                <c:pt idx="78">
                  <c:v>0.39986715117414906</c:v>
                </c:pt>
                <c:pt idx="79">
                  <c:v>0.42241498326365268</c:v>
                </c:pt>
                <c:pt idx="80">
                  <c:v>0.43437398246916459</c:v>
                </c:pt>
                <c:pt idx="81">
                  <c:v>0.44098516521444653</c:v>
                </c:pt>
                <c:pt idx="82">
                  <c:v>0.45759387332473711</c:v>
                </c:pt>
                <c:pt idx="83">
                  <c:v>0.4745907083968271</c:v>
                </c:pt>
                <c:pt idx="84">
                  <c:v>0.49118639211242643</c:v>
                </c:pt>
                <c:pt idx="85">
                  <c:v>0.50785240755935857</c:v>
                </c:pt>
                <c:pt idx="86">
                  <c:v>0.52196824652574259</c:v>
                </c:pt>
                <c:pt idx="87">
                  <c:v>0.5283736438349026</c:v>
                </c:pt>
                <c:pt idx="88">
                  <c:v>0.53102020083616597</c:v>
                </c:pt>
                <c:pt idx="89">
                  <c:v>0.54147878977324515</c:v>
                </c:pt>
                <c:pt idx="90">
                  <c:v>0.55494340900506633</c:v>
                </c:pt>
                <c:pt idx="91">
                  <c:v>0.56757707185558537</c:v>
                </c:pt>
                <c:pt idx="92">
                  <c:v>0.58054415921020053</c:v>
                </c:pt>
                <c:pt idx="93">
                  <c:v>0.5844592922543923</c:v>
                </c:pt>
                <c:pt idx="94">
                  <c:v>0.58623060993240317</c:v>
                </c:pt>
                <c:pt idx="95">
                  <c:v>0.58744708839656656</c:v>
                </c:pt>
                <c:pt idx="96">
                  <c:v>0.5886062595240884</c:v>
                </c:pt>
                <c:pt idx="97">
                  <c:v>0.59725966735695946</c:v>
                </c:pt>
                <c:pt idx="98">
                  <c:v>0.60995584730199648</c:v>
                </c:pt>
                <c:pt idx="99">
                  <c:v>0.62880475129918323</c:v>
                </c:pt>
                <c:pt idx="100">
                  <c:v>0.64595527422863008</c:v>
                </c:pt>
                <c:pt idx="101">
                  <c:v>0.65084984175360427</c:v>
                </c:pt>
                <c:pt idx="102">
                  <c:v>0.65401737454251796</c:v>
                </c:pt>
                <c:pt idx="103">
                  <c:v>0.66795608174110088</c:v>
                </c:pt>
                <c:pt idx="104">
                  <c:v>0.68110030086351714</c:v>
                </c:pt>
                <c:pt idx="105">
                  <c:v>0.69371312468253021</c:v>
                </c:pt>
                <c:pt idx="106">
                  <c:v>0.70577892392451036</c:v>
                </c:pt>
                <c:pt idx="107">
                  <c:v>0.71546125893799062</c:v>
                </c:pt>
                <c:pt idx="108">
                  <c:v>0.7176649865197513</c:v>
                </c:pt>
                <c:pt idx="109">
                  <c:v>0.72005366050612774</c:v>
                </c:pt>
                <c:pt idx="110">
                  <c:v>0.72669610179866873</c:v>
                </c:pt>
                <c:pt idx="111">
                  <c:v>0.73372406517407085</c:v>
                </c:pt>
                <c:pt idx="112">
                  <c:v>0.74082236028080573</c:v>
                </c:pt>
                <c:pt idx="113">
                  <c:v>0.74864741661131273</c:v>
                </c:pt>
                <c:pt idx="114">
                  <c:v>0.75496945779444879</c:v>
                </c:pt>
                <c:pt idx="115">
                  <c:v>0.75701689263991434</c:v>
                </c:pt>
                <c:pt idx="116">
                  <c:v>0.75837142968780502</c:v>
                </c:pt>
                <c:pt idx="117">
                  <c:v>0.76416207556753779</c:v>
                </c:pt>
                <c:pt idx="118">
                  <c:v>0.76994751168939402</c:v>
                </c:pt>
                <c:pt idx="119">
                  <c:v>0.77619922114119722</c:v>
                </c:pt>
                <c:pt idx="120">
                  <c:v>0.78243269644043267</c:v>
                </c:pt>
                <c:pt idx="121">
                  <c:v>0.78751221037002284</c:v>
                </c:pt>
                <c:pt idx="122">
                  <c:v>0.78891363523880209</c:v>
                </c:pt>
                <c:pt idx="123">
                  <c:v>0.79011708930827418</c:v>
                </c:pt>
                <c:pt idx="124">
                  <c:v>0.79463134450826378</c:v>
                </c:pt>
                <c:pt idx="125">
                  <c:v>0.79984370726370468</c:v>
                </c:pt>
                <c:pt idx="126">
                  <c:v>0.8056161189908696</c:v>
                </c:pt>
                <c:pt idx="127">
                  <c:v>0.81163078445929204</c:v>
                </c:pt>
                <c:pt idx="128">
                  <c:v>0.81607210304901057</c:v>
                </c:pt>
                <c:pt idx="129">
                  <c:v>0.81764805480665259</c:v>
                </c:pt>
                <c:pt idx="130">
                  <c:v>0.818802016176298</c:v>
                </c:pt>
                <c:pt idx="131">
                  <c:v>0.82286302244103182</c:v>
                </c:pt>
                <c:pt idx="132">
                  <c:v>0.82774456557131482</c:v>
                </c:pt>
                <c:pt idx="133">
                  <c:v>0.83217806952421858</c:v>
                </c:pt>
                <c:pt idx="134">
                  <c:v>0.83655687101941911</c:v>
                </c:pt>
                <c:pt idx="135">
                  <c:v>0.83956811107203766</c:v>
                </c:pt>
                <c:pt idx="136">
                  <c:v>0.84075854074681855</c:v>
                </c:pt>
                <c:pt idx="137">
                  <c:v>0.84164419958582404</c:v>
                </c:pt>
                <c:pt idx="138">
                  <c:v>0.84428815170814908</c:v>
                </c:pt>
                <c:pt idx="139">
                  <c:v>0.84732283567121192</c:v>
                </c:pt>
                <c:pt idx="140">
                  <c:v>0.8506675002279267</c:v>
                </c:pt>
                <c:pt idx="141">
                  <c:v>0.85398611599525887</c:v>
                </c:pt>
                <c:pt idx="142">
                  <c:v>0.85615337527188395</c:v>
                </c:pt>
                <c:pt idx="143">
                  <c:v>0.85703903411088944</c:v>
                </c:pt>
                <c:pt idx="144">
                  <c:v>0.85767201969288454</c:v>
                </c:pt>
                <c:pt idx="145">
                  <c:v>0.8595058544654135</c:v>
                </c:pt>
                <c:pt idx="146">
                  <c:v>0.86166790398416204</c:v>
                </c:pt>
                <c:pt idx="147">
                  <c:v>0.86422329022258659</c:v>
                </c:pt>
                <c:pt idx="148">
                  <c:v>0.86673178864012268</c:v>
                </c:pt>
                <c:pt idx="149">
                  <c:v>0.86872712590682322</c:v>
                </c:pt>
                <c:pt idx="150">
                  <c:v>0.86934448221518879</c:v>
                </c:pt>
                <c:pt idx="151">
                  <c:v>0.86969093111397622</c:v>
                </c:pt>
                <c:pt idx="152">
                  <c:v>0.87123301944542098</c:v>
                </c:pt>
                <c:pt idx="153">
                  <c:v>0.87303820054962922</c:v>
                </c:pt>
                <c:pt idx="154">
                  <c:v>0.87511168418447727</c:v>
                </c:pt>
                <c:pt idx="155">
                  <c:v>0.87733625079774391</c:v>
                </c:pt>
                <c:pt idx="156">
                  <c:v>0.87918050508602585</c:v>
                </c:pt>
                <c:pt idx="157">
                  <c:v>0.87982130530483571</c:v>
                </c:pt>
                <c:pt idx="158">
                  <c:v>0.88021464202451161</c:v>
                </c:pt>
                <c:pt idx="159">
                  <c:v>0.88188176454499245</c:v>
                </c:pt>
                <c:pt idx="160">
                  <c:v>0.88381979447505155</c:v>
                </c:pt>
                <c:pt idx="161">
                  <c:v>0.88549473163234715</c:v>
                </c:pt>
                <c:pt idx="162">
                  <c:v>0.88549473163234715</c:v>
                </c:pt>
                <c:pt idx="163">
                  <c:v>0.88549473163234715</c:v>
                </c:pt>
                <c:pt idx="164">
                  <c:v>0.88549473163234715</c:v>
                </c:pt>
                <c:pt idx="165">
                  <c:v>0.88549473163234715</c:v>
                </c:pt>
                <c:pt idx="166">
                  <c:v>0.88549473163234715</c:v>
                </c:pt>
                <c:pt idx="167">
                  <c:v>0.88549473163234715</c:v>
                </c:pt>
                <c:pt idx="168">
                  <c:v>0.88549473163234715</c:v>
                </c:pt>
                <c:pt idx="169">
                  <c:v>0.88549473163234715</c:v>
                </c:pt>
                <c:pt idx="170">
                  <c:v>0.88549473163234715</c:v>
                </c:pt>
                <c:pt idx="171">
                  <c:v>0.88549473163234715</c:v>
                </c:pt>
                <c:pt idx="172">
                  <c:v>0.88549473163234715</c:v>
                </c:pt>
                <c:pt idx="173">
                  <c:v>0.88549473163234715</c:v>
                </c:pt>
                <c:pt idx="174">
                  <c:v>0.88549473163234715</c:v>
                </c:pt>
                <c:pt idx="175">
                  <c:v>0.88549473163234715</c:v>
                </c:pt>
                <c:pt idx="176">
                  <c:v>0.88549473163234715</c:v>
                </c:pt>
                <c:pt idx="177">
                  <c:v>0.88549473163234715</c:v>
                </c:pt>
                <c:pt idx="178">
                  <c:v>0.88549473163234715</c:v>
                </c:pt>
                <c:pt idx="179">
                  <c:v>0.88549473163234715</c:v>
                </c:pt>
                <c:pt idx="180">
                  <c:v>0.88549473163234715</c:v>
                </c:pt>
                <c:pt idx="181">
                  <c:v>0.88549473163234715</c:v>
                </c:pt>
                <c:pt idx="182">
                  <c:v>0.88549473163234715</c:v>
                </c:pt>
                <c:pt idx="183">
                  <c:v>0.88549473163234715</c:v>
                </c:pt>
                <c:pt idx="184">
                  <c:v>0.88549473163234715</c:v>
                </c:pt>
                <c:pt idx="185">
                  <c:v>0.88549473163234715</c:v>
                </c:pt>
                <c:pt idx="186">
                  <c:v>0.88549473163234715</c:v>
                </c:pt>
                <c:pt idx="187">
                  <c:v>0.88549473163234715</c:v>
                </c:pt>
                <c:pt idx="188">
                  <c:v>0.88549473163234715</c:v>
                </c:pt>
                <c:pt idx="189">
                  <c:v>0.88549473163234715</c:v>
                </c:pt>
                <c:pt idx="190">
                  <c:v>0.88549473163234715</c:v>
                </c:pt>
                <c:pt idx="191">
                  <c:v>0.88549473163234715</c:v>
                </c:pt>
                <c:pt idx="192">
                  <c:v>0.88549473163234715</c:v>
                </c:pt>
                <c:pt idx="193">
                  <c:v>0.88549473163234715</c:v>
                </c:pt>
                <c:pt idx="194">
                  <c:v>0.88549473163234715</c:v>
                </c:pt>
                <c:pt idx="195">
                  <c:v>0.88549473163234715</c:v>
                </c:pt>
                <c:pt idx="196">
                  <c:v>0.88549473163234715</c:v>
                </c:pt>
                <c:pt idx="197">
                  <c:v>0.88549473163234715</c:v>
                </c:pt>
                <c:pt idx="198">
                  <c:v>0.88549473163234715</c:v>
                </c:pt>
                <c:pt idx="199">
                  <c:v>0.88549473163234715</c:v>
                </c:pt>
                <c:pt idx="200">
                  <c:v>0.88549473163234715</c:v>
                </c:pt>
                <c:pt idx="201">
                  <c:v>0.88549473163234715</c:v>
                </c:pt>
                <c:pt idx="202">
                  <c:v>0.88549473163234715</c:v>
                </c:pt>
                <c:pt idx="203">
                  <c:v>0.88549473163234715</c:v>
                </c:pt>
                <c:pt idx="204">
                  <c:v>0.88549473163234715</c:v>
                </c:pt>
                <c:pt idx="205">
                  <c:v>0.88549473163234715</c:v>
                </c:pt>
                <c:pt idx="206">
                  <c:v>0.88549473163234715</c:v>
                </c:pt>
                <c:pt idx="207">
                  <c:v>0.88549473163234715</c:v>
                </c:pt>
                <c:pt idx="208">
                  <c:v>0.88549473163234715</c:v>
                </c:pt>
                <c:pt idx="209">
                  <c:v>0.88549473163234715</c:v>
                </c:pt>
                <c:pt idx="210">
                  <c:v>0.88549473163234715</c:v>
                </c:pt>
                <c:pt idx="211">
                  <c:v>0.88549473163234715</c:v>
                </c:pt>
                <c:pt idx="212">
                  <c:v>0.88549473163234715</c:v>
                </c:pt>
                <c:pt idx="213">
                  <c:v>0.88549473163234715</c:v>
                </c:pt>
                <c:pt idx="214">
                  <c:v>0.88549473163234715</c:v>
                </c:pt>
                <c:pt idx="215">
                  <c:v>0.88549473163234715</c:v>
                </c:pt>
                <c:pt idx="216">
                  <c:v>0.88549473163234715</c:v>
                </c:pt>
                <c:pt idx="217">
                  <c:v>0.88549473163234715</c:v>
                </c:pt>
                <c:pt idx="218">
                  <c:v>0.88549473163234715</c:v>
                </c:pt>
                <c:pt idx="219">
                  <c:v>0.88549473163234715</c:v>
                </c:pt>
                <c:pt idx="220">
                  <c:v>0.88549473163234715</c:v>
                </c:pt>
                <c:pt idx="221">
                  <c:v>0.88549473163234715</c:v>
                </c:pt>
                <c:pt idx="222">
                  <c:v>0.88549473163234715</c:v>
                </c:pt>
                <c:pt idx="223">
                  <c:v>0.88549473163234715</c:v>
                </c:pt>
                <c:pt idx="224">
                  <c:v>0.88549473163234715</c:v>
                </c:pt>
                <c:pt idx="225">
                  <c:v>0.88549473163234715</c:v>
                </c:pt>
                <c:pt idx="226">
                  <c:v>0.88549473163234715</c:v>
                </c:pt>
                <c:pt idx="227">
                  <c:v>0.88549473163234715</c:v>
                </c:pt>
                <c:pt idx="228">
                  <c:v>0.88549473163234715</c:v>
                </c:pt>
                <c:pt idx="229">
                  <c:v>0.88549473163234715</c:v>
                </c:pt>
                <c:pt idx="230">
                  <c:v>0.88549473163234715</c:v>
                </c:pt>
                <c:pt idx="231">
                  <c:v>0.88549473163234715</c:v>
                </c:pt>
                <c:pt idx="232">
                  <c:v>0.88549473163234715</c:v>
                </c:pt>
                <c:pt idx="233">
                  <c:v>0.88549473163234715</c:v>
                </c:pt>
                <c:pt idx="234">
                  <c:v>0.88549473163234715</c:v>
                </c:pt>
                <c:pt idx="235">
                  <c:v>0.88549473163234715</c:v>
                </c:pt>
                <c:pt idx="236">
                  <c:v>0.88549473163234715</c:v>
                </c:pt>
                <c:pt idx="237">
                  <c:v>0.88549473163234715</c:v>
                </c:pt>
                <c:pt idx="238">
                  <c:v>0.88549473163234715</c:v>
                </c:pt>
                <c:pt idx="239">
                  <c:v>0.88549473163234715</c:v>
                </c:pt>
                <c:pt idx="240">
                  <c:v>0.88549473163234715</c:v>
                </c:pt>
                <c:pt idx="241">
                  <c:v>0.88549473163234715</c:v>
                </c:pt>
                <c:pt idx="242">
                  <c:v>0.88549473163234715</c:v>
                </c:pt>
                <c:pt idx="243">
                  <c:v>0.88549473163234715</c:v>
                </c:pt>
                <c:pt idx="244">
                  <c:v>0.885494731632347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9-F267-42C6-AC42-927B0F02AEC7}"/>
            </c:ext>
          </c:extLst>
        </c:ser>
        <c:ser>
          <c:idx val="13"/>
          <c:order val="13"/>
          <c:tx>
            <c:strRef>
              <c:f>List1!$O$1</c:f>
              <c:strCache>
                <c:ptCount val="1"/>
                <c:pt idx="0">
                  <c:v>17 80-84</c:v>
                </c:pt>
              </c:strCache>
            </c:strRef>
          </c:tx>
          <c:spPr>
            <a:ln w="2857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O$5:$O$249</c:f>
              <c:numCache>
                <c:formatCode>0.00%</c:formatCode>
                <c:ptCount val="245"/>
                <c:pt idx="0">
                  <c:v>7.2435942190881815E-4</c:v>
                </c:pt>
                <c:pt idx="1">
                  <c:v>8.7272219507086531E-4</c:v>
                </c:pt>
                <c:pt idx="2">
                  <c:v>8.8581302799692829E-4</c:v>
                </c:pt>
                <c:pt idx="3">
                  <c:v>9.1199469384905423E-4</c:v>
                </c:pt>
                <c:pt idx="4">
                  <c:v>9.1199469384905423E-4</c:v>
                </c:pt>
                <c:pt idx="5">
                  <c:v>9.8617608043007781E-4</c:v>
                </c:pt>
                <c:pt idx="6">
                  <c:v>1.0734482999371644E-3</c:v>
                </c:pt>
                <c:pt idx="7">
                  <c:v>1.2392655170006288E-3</c:v>
                </c:pt>
                <c:pt idx="8">
                  <c:v>1.8108985547720454E-3</c:v>
                </c:pt>
                <c:pt idx="9">
                  <c:v>2.8145290791035406E-3</c:v>
                </c:pt>
                <c:pt idx="10">
                  <c:v>3.128709069329052E-3</c:v>
                </c:pt>
                <c:pt idx="11">
                  <c:v>3.3207079522446425E-3</c:v>
                </c:pt>
                <c:pt idx="12">
                  <c:v>4.1061579278084213E-3</c:v>
                </c:pt>
                <c:pt idx="13">
                  <c:v>6.191963974027789E-3</c:v>
                </c:pt>
                <c:pt idx="14">
                  <c:v>8.7315855616840066E-3</c:v>
                </c:pt>
                <c:pt idx="15">
                  <c:v>1.2344655449277389E-2</c:v>
                </c:pt>
                <c:pt idx="16">
                  <c:v>1.6136633386860298E-2</c:v>
                </c:pt>
                <c:pt idx="17">
                  <c:v>1.9348251064721083E-2</c:v>
                </c:pt>
                <c:pt idx="18">
                  <c:v>2.3083502059624388E-2</c:v>
                </c:pt>
                <c:pt idx="19">
                  <c:v>3.4097256161418704E-2</c:v>
                </c:pt>
                <c:pt idx="20">
                  <c:v>4.6433184388745385E-2</c:v>
                </c:pt>
                <c:pt idx="21">
                  <c:v>6.0854918662291438E-2</c:v>
                </c:pt>
                <c:pt idx="22">
                  <c:v>8.0024261677022993E-2</c:v>
                </c:pt>
                <c:pt idx="23">
                  <c:v>0.10162849961600226</c:v>
                </c:pt>
                <c:pt idx="24">
                  <c:v>0.10742773860224816</c:v>
                </c:pt>
                <c:pt idx="25">
                  <c:v>0.11186553096418352</c:v>
                </c:pt>
                <c:pt idx="26">
                  <c:v>0.12491272778049295</c:v>
                </c:pt>
                <c:pt idx="27">
                  <c:v>0.13719192906514002</c:v>
                </c:pt>
                <c:pt idx="28">
                  <c:v>0.14835404594009638</c:v>
                </c:pt>
                <c:pt idx="29">
                  <c:v>0.15795835369685127</c:v>
                </c:pt>
                <c:pt idx="30">
                  <c:v>0.16675102981219023</c:v>
                </c:pt>
                <c:pt idx="31">
                  <c:v>0.16814302171332826</c:v>
                </c:pt>
                <c:pt idx="32">
                  <c:v>0.16936483278642747</c:v>
                </c:pt>
                <c:pt idx="33">
                  <c:v>0.17550006981777566</c:v>
                </c:pt>
                <c:pt idx="34">
                  <c:v>0.18076258465405295</c:v>
                </c:pt>
                <c:pt idx="35">
                  <c:v>0.18618655309641841</c:v>
                </c:pt>
                <c:pt idx="36">
                  <c:v>0.19291087760943942</c:v>
                </c:pt>
                <c:pt idx="37">
                  <c:v>0.19967447462123861</c:v>
                </c:pt>
                <c:pt idx="38">
                  <c:v>0.20128028346016902</c:v>
                </c:pt>
                <c:pt idx="39">
                  <c:v>0.20289918313202546</c:v>
                </c:pt>
                <c:pt idx="40">
                  <c:v>0.20820097046708097</c:v>
                </c:pt>
                <c:pt idx="41">
                  <c:v>0.21359875724359428</c:v>
                </c:pt>
                <c:pt idx="42">
                  <c:v>0.21874345458353703</c:v>
                </c:pt>
                <c:pt idx="43">
                  <c:v>0.22565105075752293</c:v>
                </c:pt>
                <c:pt idx="44">
                  <c:v>0.23301246247294566</c:v>
                </c:pt>
                <c:pt idx="45">
                  <c:v>0.23536008517768631</c:v>
                </c:pt>
                <c:pt idx="46">
                  <c:v>0.23674334985687362</c:v>
                </c:pt>
                <c:pt idx="47">
                  <c:v>0.24448875933812755</c:v>
                </c:pt>
                <c:pt idx="48">
                  <c:v>0.25598687425818623</c:v>
                </c:pt>
                <c:pt idx="49">
                  <c:v>0.26845807442574887</c:v>
                </c:pt>
                <c:pt idx="50">
                  <c:v>0.28479107030650008</c:v>
                </c:pt>
                <c:pt idx="51">
                  <c:v>0.30006807233121563</c:v>
                </c:pt>
                <c:pt idx="52">
                  <c:v>0.30233715003839984</c:v>
                </c:pt>
                <c:pt idx="53">
                  <c:v>0.30373786916148859</c:v>
                </c:pt>
                <c:pt idx="54">
                  <c:v>0.31868323675207716</c:v>
                </c:pt>
                <c:pt idx="55">
                  <c:v>0.33860748446554501</c:v>
                </c:pt>
                <c:pt idx="56">
                  <c:v>0.35988445158137272</c:v>
                </c:pt>
                <c:pt idx="57">
                  <c:v>0.39082681700761024</c:v>
                </c:pt>
                <c:pt idx="58">
                  <c:v>0.41442086155135111</c:v>
                </c:pt>
                <c:pt idx="59">
                  <c:v>0.41915101584863518</c:v>
                </c:pt>
                <c:pt idx="60">
                  <c:v>0.42261572296306649</c:v>
                </c:pt>
                <c:pt idx="61">
                  <c:v>0.44617049500802913</c:v>
                </c:pt>
                <c:pt idx="62">
                  <c:v>0.47010926481882298</c:v>
                </c:pt>
                <c:pt idx="63">
                  <c:v>0.492904768554074</c:v>
                </c:pt>
                <c:pt idx="64">
                  <c:v>0.51607117922223011</c:v>
                </c:pt>
                <c:pt idx="65">
                  <c:v>0.53183254206520991</c:v>
                </c:pt>
                <c:pt idx="66">
                  <c:v>0.53717796551001895</c:v>
                </c:pt>
                <c:pt idx="67">
                  <c:v>0.54211320952314468</c:v>
                </c:pt>
                <c:pt idx="68">
                  <c:v>0.55586294770648625</c:v>
                </c:pt>
                <c:pt idx="69">
                  <c:v>0.57148903860923006</c:v>
                </c:pt>
                <c:pt idx="70">
                  <c:v>0.58902202750820376</c:v>
                </c:pt>
                <c:pt idx="71">
                  <c:v>0.60691283250715644</c:v>
                </c:pt>
                <c:pt idx="72">
                  <c:v>0.61889530824547945</c:v>
                </c:pt>
                <c:pt idx="73">
                  <c:v>0.62332437338546409</c:v>
                </c:pt>
                <c:pt idx="74">
                  <c:v>0.62653162745234958</c:v>
                </c:pt>
                <c:pt idx="75">
                  <c:v>0.6328544997556379</c:v>
                </c:pt>
                <c:pt idx="76">
                  <c:v>0.64225808140752649</c:v>
                </c:pt>
                <c:pt idx="77">
                  <c:v>0.65203693360329551</c:v>
                </c:pt>
                <c:pt idx="78">
                  <c:v>0.66250959994414593</c:v>
                </c:pt>
                <c:pt idx="79">
                  <c:v>0.6711539132863229</c:v>
                </c:pt>
                <c:pt idx="80">
                  <c:v>0.67391607903372219</c:v>
                </c:pt>
                <c:pt idx="81">
                  <c:v>0.67540843398729333</c:v>
                </c:pt>
                <c:pt idx="82">
                  <c:v>0.68101567409062369</c:v>
                </c:pt>
                <c:pt idx="83">
                  <c:v>0.68734291000488745</c:v>
                </c:pt>
                <c:pt idx="84">
                  <c:v>0.69378359980451043</c:v>
                </c:pt>
                <c:pt idx="85">
                  <c:v>0.70046428820777784</c:v>
                </c:pt>
                <c:pt idx="86">
                  <c:v>0.70567880332332633</c:v>
                </c:pt>
                <c:pt idx="87">
                  <c:v>0.70732388466103491</c:v>
                </c:pt>
                <c:pt idx="88">
                  <c:v>0.70810060741464798</c:v>
                </c:pt>
                <c:pt idx="89">
                  <c:v>0.71276967115827705</c:v>
                </c:pt>
                <c:pt idx="90">
                  <c:v>0.71880018152621672</c:v>
                </c:pt>
                <c:pt idx="91">
                  <c:v>0.72449905746002952</c:v>
                </c:pt>
                <c:pt idx="92">
                  <c:v>0.73014557006213798</c:v>
                </c:pt>
                <c:pt idx="93">
                  <c:v>0.73187792361935367</c:v>
                </c:pt>
                <c:pt idx="94">
                  <c:v>0.73256737415345963</c:v>
                </c:pt>
                <c:pt idx="95">
                  <c:v>0.73296882636319227</c:v>
                </c:pt>
                <c:pt idx="96">
                  <c:v>0.73336155135097414</c:v>
                </c:pt>
                <c:pt idx="97">
                  <c:v>0.73729316483976837</c:v>
                </c:pt>
                <c:pt idx="98">
                  <c:v>0.74270404244920774</c:v>
                </c:pt>
                <c:pt idx="99">
                  <c:v>0.75074617747678574</c:v>
                </c:pt>
                <c:pt idx="100">
                  <c:v>0.75722613977518693</c:v>
                </c:pt>
                <c:pt idx="101">
                  <c:v>0.75928140054457882</c:v>
                </c:pt>
                <c:pt idx="102">
                  <c:v>0.76053375689450553</c:v>
                </c:pt>
                <c:pt idx="103">
                  <c:v>0.7657831808978568</c:v>
                </c:pt>
                <c:pt idx="104">
                  <c:v>0.77074460657683463</c:v>
                </c:pt>
                <c:pt idx="105">
                  <c:v>0.77526967115827705</c:v>
                </c:pt>
                <c:pt idx="106">
                  <c:v>0.77999546184458579</c:v>
                </c:pt>
                <c:pt idx="107">
                  <c:v>0.78381362144802091</c:v>
                </c:pt>
                <c:pt idx="108">
                  <c:v>0.78462961670041209</c:v>
                </c:pt>
                <c:pt idx="109">
                  <c:v>0.78531906723451805</c:v>
                </c:pt>
                <c:pt idx="110">
                  <c:v>0.78798086992948424</c:v>
                </c:pt>
                <c:pt idx="111">
                  <c:v>0.79103976122320763</c:v>
                </c:pt>
                <c:pt idx="112">
                  <c:v>0.79415974307058601</c:v>
                </c:pt>
                <c:pt idx="113">
                  <c:v>0.79758954129721449</c:v>
                </c:pt>
                <c:pt idx="114">
                  <c:v>0.8005655239824061</c:v>
                </c:pt>
                <c:pt idx="115">
                  <c:v>0.80133788312504384</c:v>
                </c:pt>
                <c:pt idx="116">
                  <c:v>0.80187460727501247</c:v>
                </c:pt>
                <c:pt idx="117">
                  <c:v>0.80432695664316156</c:v>
                </c:pt>
                <c:pt idx="118">
                  <c:v>0.80692766878447275</c:v>
                </c:pt>
                <c:pt idx="119">
                  <c:v>0.80981637925015726</c:v>
                </c:pt>
                <c:pt idx="120">
                  <c:v>0.81281417999022576</c:v>
                </c:pt>
                <c:pt idx="121">
                  <c:v>0.81511380297423741</c:v>
                </c:pt>
                <c:pt idx="122">
                  <c:v>0.8157072540668856</c:v>
                </c:pt>
                <c:pt idx="123">
                  <c:v>0.81635743210221345</c:v>
                </c:pt>
                <c:pt idx="124">
                  <c:v>0.81860469175452089</c:v>
                </c:pt>
                <c:pt idx="125">
                  <c:v>0.82134940305801873</c:v>
                </c:pt>
                <c:pt idx="126">
                  <c:v>0.8243559310200379</c:v>
                </c:pt>
                <c:pt idx="127">
                  <c:v>0.82784245618934604</c:v>
                </c:pt>
                <c:pt idx="128">
                  <c:v>0.83057844027089323</c:v>
                </c:pt>
                <c:pt idx="129">
                  <c:v>0.83133334496962952</c:v>
                </c:pt>
                <c:pt idx="130">
                  <c:v>0.83187006911959804</c:v>
                </c:pt>
                <c:pt idx="131">
                  <c:v>0.83427005515604291</c:v>
                </c:pt>
                <c:pt idx="132">
                  <c:v>0.83714131117782609</c:v>
                </c:pt>
                <c:pt idx="133">
                  <c:v>0.83985984081547183</c:v>
                </c:pt>
                <c:pt idx="134">
                  <c:v>0.84251727989946257</c:v>
                </c:pt>
                <c:pt idx="135">
                  <c:v>0.84468163094323834</c:v>
                </c:pt>
                <c:pt idx="136">
                  <c:v>0.84537980869929508</c:v>
                </c:pt>
                <c:pt idx="137">
                  <c:v>0.84606053201145037</c:v>
                </c:pt>
                <c:pt idx="138">
                  <c:v>0.8477012497381835</c:v>
                </c:pt>
                <c:pt idx="139">
                  <c:v>0.84945105773930063</c:v>
                </c:pt>
                <c:pt idx="140">
                  <c:v>0.85153686378551996</c:v>
                </c:pt>
                <c:pt idx="141">
                  <c:v>0.85368812399636973</c:v>
                </c:pt>
                <c:pt idx="142">
                  <c:v>0.85527211478042331</c:v>
                </c:pt>
                <c:pt idx="143">
                  <c:v>0.85577829365356439</c:v>
                </c:pt>
                <c:pt idx="144">
                  <c:v>0.85621029114012448</c:v>
                </c:pt>
                <c:pt idx="145">
                  <c:v>0.85742337499127297</c:v>
                </c:pt>
                <c:pt idx="146">
                  <c:v>0.85896809327654844</c:v>
                </c:pt>
                <c:pt idx="147">
                  <c:v>0.86061317461425701</c:v>
                </c:pt>
                <c:pt idx="148">
                  <c:v>0.86223643789708881</c:v>
                </c:pt>
                <c:pt idx="149">
                  <c:v>0.8635106123018923</c:v>
                </c:pt>
                <c:pt idx="150">
                  <c:v>0.86385097395796995</c:v>
                </c:pt>
                <c:pt idx="151">
                  <c:v>0.86418697200307215</c:v>
                </c:pt>
                <c:pt idx="152">
                  <c:v>0.86524296585910798</c:v>
                </c:pt>
                <c:pt idx="153">
                  <c:v>0.86646477693220714</c:v>
                </c:pt>
                <c:pt idx="154">
                  <c:v>0.86785240522236984</c:v>
                </c:pt>
                <c:pt idx="155">
                  <c:v>0.86931421489911354</c:v>
                </c:pt>
                <c:pt idx="156">
                  <c:v>0.87047057180758247</c:v>
                </c:pt>
                <c:pt idx="157">
                  <c:v>0.87083711512951223</c:v>
                </c:pt>
                <c:pt idx="158">
                  <c:v>0.87110329539900877</c:v>
                </c:pt>
                <c:pt idx="159">
                  <c:v>0.87221165258674882</c:v>
                </c:pt>
                <c:pt idx="160">
                  <c:v>0.87360800809886219</c:v>
                </c:pt>
                <c:pt idx="161">
                  <c:v>0.87479054667318323</c:v>
                </c:pt>
                <c:pt idx="162">
                  <c:v>0.87479054667318323</c:v>
                </c:pt>
                <c:pt idx="163">
                  <c:v>0.87479054667318323</c:v>
                </c:pt>
                <c:pt idx="164">
                  <c:v>0.87479054667318323</c:v>
                </c:pt>
                <c:pt idx="165">
                  <c:v>0.87479054667318323</c:v>
                </c:pt>
                <c:pt idx="166">
                  <c:v>0.87479054667318323</c:v>
                </c:pt>
                <c:pt idx="167">
                  <c:v>0.87479054667318323</c:v>
                </c:pt>
                <c:pt idx="168">
                  <c:v>0.87479054667318323</c:v>
                </c:pt>
                <c:pt idx="169">
                  <c:v>0.87479054667318323</c:v>
                </c:pt>
                <c:pt idx="170">
                  <c:v>0.87479054667318323</c:v>
                </c:pt>
                <c:pt idx="171">
                  <c:v>0.87479054667318323</c:v>
                </c:pt>
                <c:pt idx="172">
                  <c:v>0.87479054667318323</c:v>
                </c:pt>
                <c:pt idx="173">
                  <c:v>0.87479054667318323</c:v>
                </c:pt>
                <c:pt idx="174">
                  <c:v>0.87479054667318323</c:v>
                </c:pt>
                <c:pt idx="175">
                  <c:v>0.87479054667318323</c:v>
                </c:pt>
                <c:pt idx="176">
                  <c:v>0.87479054667318323</c:v>
                </c:pt>
                <c:pt idx="177">
                  <c:v>0.87479054667318323</c:v>
                </c:pt>
                <c:pt idx="178">
                  <c:v>0.87479054667318323</c:v>
                </c:pt>
                <c:pt idx="179">
                  <c:v>0.87479054667318323</c:v>
                </c:pt>
                <c:pt idx="180">
                  <c:v>0.87479054667318323</c:v>
                </c:pt>
                <c:pt idx="181">
                  <c:v>0.87479054667318323</c:v>
                </c:pt>
                <c:pt idx="182">
                  <c:v>0.87479054667318323</c:v>
                </c:pt>
                <c:pt idx="183">
                  <c:v>0.87479054667318323</c:v>
                </c:pt>
                <c:pt idx="184">
                  <c:v>0.87479054667318323</c:v>
                </c:pt>
                <c:pt idx="185">
                  <c:v>0.87479054667318323</c:v>
                </c:pt>
                <c:pt idx="186">
                  <c:v>0.87479054667318323</c:v>
                </c:pt>
                <c:pt idx="187">
                  <c:v>0.87479054667318323</c:v>
                </c:pt>
                <c:pt idx="188">
                  <c:v>0.87479054667318323</c:v>
                </c:pt>
                <c:pt idx="189">
                  <c:v>0.87479054667318323</c:v>
                </c:pt>
                <c:pt idx="190">
                  <c:v>0.87479054667318323</c:v>
                </c:pt>
                <c:pt idx="191">
                  <c:v>0.87479054667318323</c:v>
                </c:pt>
                <c:pt idx="192">
                  <c:v>0.87479054667318323</c:v>
                </c:pt>
                <c:pt idx="193">
                  <c:v>0.87479054667318323</c:v>
                </c:pt>
                <c:pt idx="194">
                  <c:v>0.87479054667318323</c:v>
                </c:pt>
                <c:pt idx="195">
                  <c:v>0.87479054667318323</c:v>
                </c:pt>
                <c:pt idx="196">
                  <c:v>0.87479054667318323</c:v>
                </c:pt>
                <c:pt idx="197">
                  <c:v>0.87479054667318323</c:v>
                </c:pt>
                <c:pt idx="198">
                  <c:v>0.87479054667318323</c:v>
                </c:pt>
                <c:pt idx="199">
                  <c:v>0.87479054667318323</c:v>
                </c:pt>
                <c:pt idx="200">
                  <c:v>0.87479054667318323</c:v>
                </c:pt>
                <c:pt idx="201">
                  <c:v>0.87479054667318323</c:v>
                </c:pt>
                <c:pt idx="202">
                  <c:v>0.87479054667318323</c:v>
                </c:pt>
                <c:pt idx="203">
                  <c:v>0.87479054667318323</c:v>
                </c:pt>
                <c:pt idx="204">
                  <c:v>0.87479054667318323</c:v>
                </c:pt>
                <c:pt idx="205">
                  <c:v>0.87479054667318323</c:v>
                </c:pt>
                <c:pt idx="206">
                  <c:v>0.87479054667318323</c:v>
                </c:pt>
                <c:pt idx="207">
                  <c:v>0.87479054667318323</c:v>
                </c:pt>
                <c:pt idx="208">
                  <c:v>0.87479054667318323</c:v>
                </c:pt>
                <c:pt idx="209">
                  <c:v>0.87479054667318323</c:v>
                </c:pt>
                <c:pt idx="210">
                  <c:v>0.87479054667318323</c:v>
                </c:pt>
                <c:pt idx="211">
                  <c:v>0.87479054667318323</c:v>
                </c:pt>
                <c:pt idx="212">
                  <c:v>0.87479054667318323</c:v>
                </c:pt>
                <c:pt idx="213">
                  <c:v>0.87479054667318323</c:v>
                </c:pt>
                <c:pt idx="214">
                  <c:v>0.87479054667318323</c:v>
                </c:pt>
                <c:pt idx="215">
                  <c:v>0.87479054667318323</c:v>
                </c:pt>
                <c:pt idx="216">
                  <c:v>0.87479054667318323</c:v>
                </c:pt>
                <c:pt idx="217">
                  <c:v>0.87479054667318323</c:v>
                </c:pt>
                <c:pt idx="218">
                  <c:v>0.87479054667318323</c:v>
                </c:pt>
                <c:pt idx="219">
                  <c:v>0.87479054667318323</c:v>
                </c:pt>
                <c:pt idx="220">
                  <c:v>0.87479054667318323</c:v>
                </c:pt>
                <c:pt idx="221">
                  <c:v>0.87479054667318323</c:v>
                </c:pt>
                <c:pt idx="222">
                  <c:v>0.87479054667318323</c:v>
                </c:pt>
                <c:pt idx="223">
                  <c:v>0.87479054667318323</c:v>
                </c:pt>
                <c:pt idx="224">
                  <c:v>0.87479054667318323</c:v>
                </c:pt>
                <c:pt idx="225">
                  <c:v>0.87479054667318323</c:v>
                </c:pt>
                <c:pt idx="226">
                  <c:v>0.87479054667318323</c:v>
                </c:pt>
                <c:pt idx="227">
                  <c:v>0.87479054667318323</c:v>
                </c:pt>
                <c:pt idx="228">
                  <c:v>0.87479054667318323</c:v>
                </c:pt>
                <c:pt idx="229">
                  <c:v>0.87479054667318323</c:v>
                </c:pt>
                <c:pt idx="230">
                  <c:v>0.87479054667318323</c:v>
                </c:pt>
                <c:pt idx="231">
                  <c:v>0.87479054667318323</c:v>
                </c:pt>
                <c:pt idx="232">
                  <c:v>0.87479054667318323</c:v>
                </c:pt>
                <c:pt idx="233">
                  <c:v>0.87479054667318323</c:v>
                </c:pt>
                <c:pt idx="234">
                  <c:v>0.87479054667318323</c:v>
                </c:pt>
                <c:pt idx="235">
                  <c:v>0.87479054667318323</c:v>
                </c:pt>
                <c:pt idx="236">
                  <c:v>0.87479054667318323</c:v>
                </c:pt>
                <c:pt idx="237">
                  <c:v>0.87479054667318323</c:v>
                </c:pt>
                <c:pt idx="238">
                  <c:v>0.87479054667318323</c:v>
                </c:pt>
                <c:pt idx="239">
                  <c:v>0.87479054667318323</c:v>
                </c:pt>
                <c:pt idx="240">
                  <c:v>0.87479054667318323</c:v>
                </c:pt>
                <c:pt idx="241">
                  <c:v>0.87479054667318323</c:v>
                </c:pt>
                <c:pt idx="242">
                  <c:v>0.87479054667318323</c:v>
                </c:pt>
                <c:pt idx="243">
                  <c:v>0.87479054667318323</c:v>
                </c:pt>
                <c:pt idx="244">
                  <c:v>0.874790546673183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A-F267-42C6-AC42-927B0F02AEC7}"/>
            </c:ext>
          </c:extLst>
        </c:ser>
        <c:ser>
          <c:idx val="14"/>
          <c:order val="14"/>
          <c:tx>
            <c:strRef>
              <c:f>List1!$P$1</c:f>
              <c:strCache>
                <c:ptCount val="1"/>
                <c:pt idx="0">
                  <c:v>18 85+</c:v>
                </c:pt>
              </c:strCache>
            </c:strRef>
          </c:tx>
          <c:spPr>
            <a:ln w="2857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P$5:$P$249</c:f>
              <c:numCache>
                <c:formatCode>0.00%</c:formatCode>
                <c:ptCount val="245"/>
                <c:pt idx="0">
                  <c:v>2.1252681126343004E-3</c:v>
                </c:pt>
                <c:pt idx="1">
                  <c:v>2.5375603100044647E-3</c:v>
                </c:pt>
                <c:pt idx="2">
                  <c:v>2.5375603100044647E-3</c:v>
                </c:pt>
                <c:pt idx="3">
                  <c:v>2.5670097526737622E-3</c:v>
                </c:pt>
                <c:pt idx="4">
                  <c:v>2.5817344740084107E-3</c:v>
                </c:pt>
                <c:pt idx="5">
                  <c:v>2.6504498402367717E-3</c:v>
                </c:pt>
                <c:pt idx="6">
                  <c:v>2.7535228895793126E-3</c:v>
                </c:pt>
                <c:pt idx="7">
                  <c:v>2.895861862480917E-3</c:v>
                </c:pt>
                <c:pt idx="8">
                  <c:v>4.2309032634890685E-3</c:v>
                </c:pt>
                <c:pt idx="9">
                  <c:v>7.3230947437653024E-3</c:v>
                </c:pt>
                <c:pt idx="10">
                  <c:v>7.8826341544819545E-3</c:v>
                </c:pt>
                <c:pt idx="11">
                  <c:v>8.1918533025095771E-3</c:v>
                </c:pt>
                <c:pt idx="12">
                  <c:v>1.0430010945376185E-2</c:v>
                </c:pt>
                <c:pt idx="13">
                  <c:v>1.6221734670338019E-2</c:v>
                </c:pt>
                <c:pt idx="14">
                  <c:v>2.1709147487717111E-2</c:v>
                </c:pt>
                <c:pt idx="15">
                  <c:v>2.8870270296801278E-2</c:v>
                </c:pt>
                <c:pt idx="16">
                  <c:v>3.5864512930759429E-2</c:v>
                </c:pt>
                <c:pt idx="17">
                  <c:v>3.9653674554209033E-2</c:v>
                </c:pt>
                <c:pt idx="18">
                  <c:v>4.3541000986556298E-2</c:v>
                </c:pt>
                <c:pt idx="19">
                  <c:v>5.4147708587948269E-2</c:v>
                </c:pt>
                <c:pt idx="20">
                  <c:v>6.6953307908647786E-2</c:v>
                </c:pt>
                <c:pt idx="21">
                  <c:v>8.2345549943800583E-2</c:v>
                </c:pt>
                <c:pt idx="22">
                  <c:v>0.1013257157441628</c:v>
                </c:pt>
                <c:pt idx="23">
                  <c:v>0.12059055949032822</c:v>
                </c:pt>
                <c:pt idx="24">
                  <c:v>0.12615159591438058</c:v>
                </c:pt>
                <c:pt idx="25">
                  <c:v>0.13017635307918454</c:v>
                </c:pt>
                <c:pt idx="26">
                  <c:v>0.14558331983567199</c:v>
                </c:pt>
                <c:pt idx="27">
                  <c:v>0.16292904156788821</c:v>
                </c:pt>
                <c:pt idx="28">
                  <c:v>0.17725619542650142</c:v>
                </c:pt>
                <c:pt idx="29">
                  <c:v>0.18781382062344457</c:v>
                </c:pt>
                <c:pt idx="30">
                  <c:v>0.19707076210249375</c:v>
                </c:pt>
                <c:pt idx="31">
                  <c:v>0.19826346453060029</c:v>
                </c:pt>
                <c:pt idx="32">
                  <c:v>0.1997261201831754</c:v>
                </c:pt>
                <c:pt idx="33">
                  <c:v>0.20502211162320405</c:v>
                </c:pt>
                <c:pt idx="34">
                  <c:v>0.21134883355665812</c:v>
                </c:pt>
                <c:pt idx="35">
                  <c:v>0.21817128777504538</c:v>
                </c:pt>
                <c:pt idx="36">
                  <c:v>0.22642203996289353</c:v>
                </c:pt>
                <c:pt idx="37">
                  <c:v>0.23566916496105295</c:v>
                </c:pt>
                <c:pt idx="38">
                  <c:v>0.23747048920432498</c:v>
                </c:pt>
                <c:pt idx="39">
                  <c:v>0.23922273104314817</c:v>
                </c:pt>
                <c:pt idx="40">
                  <c:v>0.24615316655132283</c:v>
                </c:pt>
                <c:pt idx="41">
                  <c:v>0.25497818287122231</c:v>
                </c:pt>
                <c:pt idx="42">
                  <c:v>0.26408296889648009</c:v>
                </c:pt>
                <c:pt idx="43">
                  <c:v>0.27265275671324568</c:v>
                </c:pt>
                <c:pt idx="44">
                  <c:v>0.28255267769057452</c:v>
                </c:pt>
                <c:pt idx="45">
                  <c:v>0.28480556005477575</c:v>
                </c:pt>
                <c:pt idx="46">
                  <c:v>0.28651362772959499</c:v>
                </c:pt>
                <c:pt idx="47">
                  <c:v>0.29663441952694358</c:v>
                </c:pt>
                <c:pt idx="48">
                  <c:v>0.31145730567048996</c:v>
                </c:pt>
                <c:pt idx="49">
                  <c:v>0.32596115618511895</c:v>
                </c:pt>
                <c:pt idx="50">
                  <c:v>0.34538306362552063</c:v>
                </c:pt>
                <c:pt idx="51">
                  <c:v>0.36258644638483523</c:v>
                </c:pt>
                <c:pt idx="52">
                  <c:v>0.36572281202911544</c:v>
                </c:pt>
                <c:pt idx="53">
                  <c:v>0.36783826366085998</c:v>
                </c:pt>
                <c:pt idx="54">
                  <c:v>0.38196908790167783</c:v>
                </c:pt>
                <c:pt idx="55">
                  <c:v>0.39756747603551573</c:v>
                </c:pt>
                <c:pt idx="56">
                  <c:v>0.41036325887532549</c:v>
                </c:pt>
                <c:pt idx="57">
                  <c:v>0.42484747642817494</c:v>
                </c:pt>
                <c:pt idx="58">
                  <c:v>0.438595457914292</c:v>
                </c:pt>
                <c:pt idx="59">
                  <c:v>0.44190361197414307</c:v>
                </c:pt>
                <c:pt idx="60">
                  <c:v>0.44392089879698993</c:v>
                </c:pt>
                <c:pt idx="61">
                  <c:v>0.45552397920869314</c:v>
                </c:pt>
                <c:pt idx="62">
                  <c:v>0.46688655583859706</c:v>
                </c:pt>
                <c:pt idx="63">
                  <c:v>0.47977559524685959</c:v>
                </c:pt>
                <c:pt idx="64">
                  <c:v>0.49271862530001587</c:v>
                </c:pt>
                <c:pt idx="65">
                  <c:v>0.50312900328361254</c:v>
                </c:pt>
                <c:pt idx="66">
                  <c:v>0.50585307673052249</c:v>
                </c:pt>
                <c:pt idx="67">
                  <c:v>0.50769857513779848</c:v>
                </c:pt>
                <c:pt idx="68">
                  <c:v>0.51558120929228046</c:v>
                </c:pt>
                <c:pt idx="69">
                  <c:v>0.52473998596243199</c:v>
                </c:pt>
                <c:pt idx="70">
                  <c:v>0.53572462807807986</c:v>
                </c:pt>
                <c:pt idx="71">
                  <c:v>0.54667982075105859</c:v>
                </c:pt>
                <c:pt idx="72">
                  <c:v>0.55404708965882776</c:v>
                </c:pt>
                <c:pt idx="73">
                  <c:v>0.55626070609946998</c:v>
                </c:pt>
                <c:pt idx="74">
                  <c:v>0.55777244415649396</c:v>
                </c:pt>
                <c:pt idx="75">
                  <c:v>0.5622585759231169</c:v>
                </c:pt>
                <c:pt idx="76">
                  <c:v>0.56844295888366936</c:v>
                </c:pt>
                <c:pt idx="77">
                  <c:v>0.57419050844462727</c:v>
                </c:pt>
                <c:pt idx="78">
                  <c:v>0.58056140454208527</c:v>
                </c:pt>
                <c:pt idx="79">
                  <c:v>0.58633840354571243</c:v>
                </c:pt>
                <c:pt idx="80">
                  <c:v>0.58801211353741756</c:v>
                </c:pt>
                <c:pt idx="81">
                  <c:v>0.58881215672993348</c:v>
                </c:pt>
                <c:pt idx="82">
                  <c:v>0.59234118160980431</c:v>
                </c:pt>
                <c:pt idx="83">
                  <c:v>0.59640029645772241</c:v>
                </c:pt>
                <c:pt idx="84">
                  <c:v>0.6004741360269753</c:v>
                </c:pt>
                <c:pt idx="85">
                  <c:v>0.60537746823141325</c:v>
                </c:pt>
                <c:pt idx="86">
                  <c:v>0.60955928909045354</c:v>
                </c:pt>
                <c:pt idx="87">
                  <c:v>0.61046731357275685</c:v>
                </c:pt>
                <c:pt idx="88">
                  <c:v>0.6109532293768003</c:v>
                </c:pt>
                <c:pt idx="89">
                  <c:v>0.61401597141440722</c:v>
                </c:pt>
                <c:pt idx="90">
                  <c:v>0.61871806576060506</c:v>
                </c:pt>
                <c:pt idx="91">
                  <c:v>0.62323364696989736</c:v>
                </c:pt>
                <c:pt idx="92">
                  <c:v>0.62770505401518562</c:v>
                </c:pt>
                <c:pt idx="93">
                  <c:v>0.62893702236685123</c:v>
                </c:pt>
                <c:pt idx="94">
                  <c:v>0.62939348872822531</c:v>
                </c:pt>
                <c:pt idx="95">
                  <c:v>0.62968798315491836</c:v>
                </c:pt>
                <c:pt idx="96">
                  <c:v>0.62993830341760737</c:v>
                </c:pt>
                <c:pt idx="97">
                  <c:v>0.63266728510496228</c:v>
                </c:pt>
                <c:pt idx="98">
                  <c:v>0.63679020707866396</c:v>
                </c:pt>
                <c:pt idx="99">
                  <c:v>0.64313656197389757</c:v>
                </c:pt>
                <c:pt idx="100">
                  <c:v>0.64810860954456395</c:v>
                </c:pt>
                <c:pt idx="101">
                  <c:v>0.64951727455224528</c:v>
                </c:pt>
                <c:pt idx="102">
                  <c:v>0.65027314358075727</c:v>
                </c:pt>
                <c:pt idx="103">
                  <c:v>0.65384143438418718</c:v>
                </c:pt>
                <c:pt idx="104">
                  <c:v>0.65773366905697928</c:v>
                </c:pt>
                <c:pt idx="105">
                  <c:v>0.66088966766303903</c:v>
                </c:pt>
                <c:pt idx="106">
                  <c:v>0.66491933306828788</c:v>
                </c:pt>
                <c:pt idx="107">
                  <c:v>0.66758450762985933</c:v>
                </c:pt>
                <c:pt idx="108">
                  <c:v>0.66812932231924127</c:v>
                </c:pt>
                <c:pt idx="109">
                  <c:v>0.6686643205277335</c:v>
                </c:pt>
                <c:pt idx="110">
                  <c:v>0.67060798374390718</c:v>
                </c:pt>
                <c:pt idx="111">
                  <c:v>0.67304737924501401</c:v>
                </c:pt>
                <c:pt idx="112">
                  <c:v>0.67560457251679795</c:v>
                </c:pt>
                <c:pt idx="113">
                  <c:v>0.67887836889353492</c:v>
                </c:pt>
                <c:pt idx="114">
                  <c:v>0.68120978310485425</c:v>
                </c:pt>
                <c:pt idx="115">
                  <c:v>0.68177423075601584</c:v>
                </c:pt>
                <c:pt idx="116">
                  <c:v>0.68214725702982693</c:v>
                </c:pt>
                <c:pt idx="117">
                  <c:v>0.68392894831131934</c:v>
                </c:pt>
                <c:pt idx="118">
                  <c:v>0.68612293179018202</c:v>
                </c:pt>
                <c:pt idx="119">
                  <c:v>0.68832673174993453</c:v>
                </c:pt>
                <c:pt idx="120">
                  <c:v>0.69081520965549015</c:v>
                </c:pt>
                <c:pt idx="121">
                  <c:v>0.69248401140675031</c:v>
                </c:pt>
                <c:pt idx="122">
                  <c:v>0.69288157888278579</c:v>
                </c:pt>
                <c:pt idx="123">
                  <c:v>0.69329877932060091</c:v>
                </c:pt>
                <c:pt idx="124">
                  <c:v>0.69495776459097125</c:v>
                </c:pt>
                <c:pt idx="125">
                  <c:v>0.69700940909693232</c:v>
                </c:pt>
                <c:pt idx="126">
                  <c:v>0.69912976896912171</c:v>
                </c:pt>
                <c:pt idx="127">
                  <c:v>0.70209925443827592</c:v>
                </c:pt>
                <c:pt idx="128">
                  <c:v>0.70400855997133538</c:v>
                </c:pt>
                <c:pt idx="129">
                  <c:v>0.70451410873715836</c:v>
                </c:pt>
                <c:pt idx="130">
                  <c:v>0.70486259380874505</c:v>
                </c:pt>
                <c:pt idx="131">
                  <c:v>0.70679153230358394</c:v>
                </c:pt>
                <c:pt idx="132">
                  <c:v>0.7091671206789073</c:v>
                </c:pt>
                <c:pt idx="133">
                  <c:v>0.71120404046353369</c:v>
                </c:pt>
                <c:pt idx="134">
                  <c:v>0.71312807071792783</c:v>
                </c:pt>
                <c:pt idx="135">
                  <c:v>0.71463490053450685</c:v>
                </c:pt>
                <c:pt idx="136">
                  <c:v>0.71508645865543607</c:v>
                </c:pt>
                <c:pt idx="137">
                  <c:v>0.71544476020791259</c:v>
                </c:pt>
                <c:pt idx="138">
                  <c:v>0.71652457310578677</c:v>
                </c:pt>
                <c:pt idx="139">
                  <c:v>0.71792342163257838</c:v>
                </c:pt>
                <c:pt idx="140">
                  <c:v>0.7197296541162953</c:v>
                </c:pt>
                <c:pt idx="141">
                  <c:v>0.7215506113213469</c:v>
                </c:pt>
                <c:pt idx="142">
                  <c:v>0.72276785495167784</c:v>
                </c:pt>
                <c:pt idx="143">
                  <c:v>0.72314578946593389</c:v>
                </c:pt>
                <c:pt idx="144">
                  <c:v>0.72342065093084729</c:v>
                </c:pt>
                <c:pt idx="145">
                  <c:v>0.72440229901982389</c:v>
                </c:pt>
                <c:pt idx="146">
                  <c:v>0.72559009320748558</c:v>
                </c:pt>
                <c:pt idx="147">
                  <c:v>0.72689077692537951</c:v>
                </c:pt>
                <c:pt idx="148">
                  <c:v>0.72820127712416327</c:v>
                </c:pt>
                <c:pt idx="149">
                  <c:v>0.72913875104913584</c:v>
                </c:pt>
                <c:pt idx="150">
                  <c:v>0.72942342899493906</c:v>
                </c:pt>
                <c:pt idx="151">
                  <c:v>0.72959030917006507</c:v>
                </c:pt>
                <c:pt idx="152">
                  <c:v>0.73032163699635266</c:v>
                </c:pt>
                <c:pt idx="153">
                  <c:v>0.7312983768448843</c:v>
                </c:pt>
                <c:pt idx="154">
                  <c:v>0.73245672158987674</c:v>
                </c:pt>
                <c:pt idx="155">
                  <c:v>0.73368868994154235</c:v>
                </c:pt>
                <c:pt idx="156">
                  <c:v>0.73466052154962913</c:v>
                </c:pt>
                <c:pt idx="157">
                  <c:v>0.73490102533142843</c:v>
                </c:pt>
                <c:pt idx="158">
                  <c:v>0.73505318078521975</c:v>
                </c:pt>
                <c:pt idx="159">
                  <c:v>0.73597102174841289</c:v>
                </c:pt>
                <c:pt idx="160">
                  <c:v>0.73719317361918868</c:v>
                </c:pt>
                <c:pt idx="161">
                  <c:v>0.73805211569704321</c:v>
                </c:pt>
                <c:pt idx="162">
                  <c:v>0.73874417759977173</c:v>
                </c:pt>
                <c:pt idx="163">
                  <c:v>0.73943623950250026</c:v>
                </c:pt>
                <c:pt idx="164">
                  <c:v>0.74012830140522867</c:v>
                </c:pt>
                <c:pt idx="165">
                  <c:v>0.7408203633079572</c:v>
                </c:pt>
                <c:pt idx="166">
                  <c:v>0.74151242521068572</c:v>
                </c:pt>
                <c:pt idx="167">
                  <c:v>0.74220448711341414</c:v>
                </c:pt>
                <c:pt idx="168">
                  <c:v>0.74289654901614266</c:v>
                </c:pt>
                <c:pt idx="169">
                  <c:v>0.74358861091887118</c:v>
                </c:pt>
                <c:pt idx="170">
                  <c:v>0.7442806728215996</c:v>
                </c:pt>
                <c:pt idx="171">
                  <c:v>0.74497273472432812</c:v>
                </c:pt>
                <c:pt idx="172">
                  <c:v>0.74566479662705665</c:v>
                </c:pt>
                <c:pt idx="173">
                  <c:v>0.74635685852978517</c:v>
                </c:pt>
                <c:pt idx="174">
                  <c:v>0.74704892043251359</c:v>
                </c:pt>
                <c:pt idx="175">
                  <c:v>0.74774098233524211</c:v>
                </c:pt>
                <c:pt idx="176">
                  <c:v>0.74843304423797063</c:v>
                </c:pt>
                <c:pt idx="177">
                  <c:v>0.74912510614069905</c:v>
                </c:pt>
                <c:pt idx="178">
                  <c:v>0.74981716804342757</c:v>
                </c:pt>
                <c:pt idx="179">
                  <c:v>0.7505092299461561</c:v>
                </c:pt>
                <c:pt idx="180">
                  <c:v>0.75120129184888451</c:v>
                </c:pt>
                <c:pt idx="181">
                  <c:v>0.75189335375161304</c:v>
                </c:pt>
                <c:pt idx="182">
                  <c:v>0.75258541565434156</c:v>
                </c:pt>
                <c:pt idx="183">
                  <c:v>0.75362105438821181</c:v>
                </c:pt>
                <c:pt idx="184">
                  <c:v>0.75465669312208217</c:v>
                </c:pt>
                <c:pt idx="185">
                  <c:v>0.75569233185595241</c:v>
                </c:pt>
                <c:pt idx="186">
                  <c:v>0.75672797058982266</c:v>
                </c:pt>
                <c:pt idx="187">
                  <c:v>0.75776360932369302</c:v>
                </c:pt>
                <c:pt idx="188">
                  <c:v>0.75879924805756327</c:v>
                </c:pt>
                <c:pt idx="189">
                  <c:v>0.75983488679143363</c:v>
                </c:pt>
                <c:pt idx="190">
                  <c:v>0.76087052552530388</c:v>
                </c:pt>
                <c:pt idx="191">
                  <c:v>0.76190616425917423</c:v>
                </c:pt>
                <c:pt idx="192">
                  <c:v>0.76294180299304448</c:v>
                </c:pt>
                <c:pt idx="193">
                  <c:v>0.76397744172691473</c:v>
                </c:pt>
                <c:pt idx="194">
                  <c:v>0.76501308046078509</c:v>
                </c:pt>
                <c:pt idx="195">
                  <c:v>0.76604871919465534</c:v>
                </c:pt>
                <c:pt idx="196">
                  <c:v>0.7670843579285257</c:v>
                </c:pt>
                <c:pt idx="197">
                  <c:v>0.76811999666239594</c:v>
                </c:pt>
                <c:pt idx="198">
                  <c:v>0.76915563539626619</c:v>
                </c:pt>
                <c:pt idx="199">
                  <c:v>0.77019127413013655</c:v>
                </c:pt>
                <c:pt idx="200">
                  <c:v>0.7712269128640068</c:v>
                </c:pt>
                <c:pt idx="201">
                  <c:v>0.77226255159787716</c:v>
                </c:pt>
                <c:pt idx="202">
                  <c:v>0.7732981903317474</c:v>
                </c:pt>
                <c:pt idx="203">
                  <c:v>0.77433382906561776</c:v>
                </c:pt>
                <c:pt idx="204">
                  <c:v>0.77536946779948801</c:v>
                </c:pt>
                <c:pt idx="205">
                  <c:v>0.77640510653335826</c:v>
                </c:pt>
                <c:pt idx="206">
                  <c:v>0.77744074526722862</c:v>
                </c:pt>
                <c:pt idx="207">
                  <c:v>0.77847638400109886</c:v>
                </c:pt>
                <c:pt idx="208">
                  <c:v>0.77951202273496922</c:v>
                </c:pt>
                <c:pt idx="209">
                  <c:v>0.78054766146883947</c:v>
                </c:pt>
                <c:pt idx="210">
                  <c:v>0.78158330020270972</c:v>
                </c:pt>
                <c:pt idx="211">
                  <c:v>0.78261893893658008</c:v>
                </c:pt>
                <c:pt idx="212">
                  <c:v>0.78365457767045033</c:v>
                </c:pt>
                <c:pt idx="213">
                  <c:v>0.78469021640432068</c:v>
                </c:pt>
                <c:pt idx="214">
                  <c:v>0.78864625820289624</c:v>
                </c:pt>
                <c:pt idx="215">
                  <c:v>0.79260230000147192</c:v>
                </c:pt>
                <c:pt idx="216">
                  <c:v>0.79655834180004759</c:v>
                </c:pt>
                <c:pt idx="217">
                  <c:v>0.80051438359862315</c:v>
                </c:pt>
                <c:pt idx="218">
                  <c:v>0.80051438359862315</c:v>
                </c:pt>
                <c:pt idx="219">
                  <c:v>0.80051438359862315</c:v>
                </c:pt>
                <c:pt idx="220">
                  <c:v>0.80051438359862315</c:v>
                </c:pt>
                <c:pt idx="221">
                  <c:v>0.80051438359862315</c:v>
                </c:pt>
                <c:pt idx="222">
                  <c:v>0.80051438359862315</c:v>
                </c:pt>
                <c:pt idx="223">
                  <c:v>0.80051438359862315</c:v>
                </c:pt>
                <c:pt idx="224">
                  <c:v>0.80051438359862315</c:v>
                </c:pt>
                <c:pt idx="225">
                  <c:v>0.80051438359862315</c:v>
                </c:pt>
                <c:pt idx="226">
                  <c:v>0.80051438359862315</c:v>
                </c:pt>
                <c:pt idx="227">
                  <c:v>0.80051438359862315</c:v>
                </c:pt>
                <c:pt idx="228">
                  <c:v>0.80051438359862315</c:v>
                </c:pt>
                <c:pt idx="229">
                  <c:v>0.80051438359862315</c:v>
                </c:pt>
                <c:pt idx="230">
                  <c:v>0.80051438359862315</c:v>
                </c:pt>
                <c:pt idx="231">
                  <c:v>0.80051438359862315</c:v>
                </c:pt>
                <c:pt idx="232">
                  <c:v>0.80051438359862315</c:v>
                </c:pt>
                <c:pt idx="233">
                  <c:v>0.80051438359862315</c:v>
                </c:pt>
                <c:pt idx="234">
                  <c:v>0.80051438359862315</c:v>
                </c:pt>
                <c:pt idx="235">
                  <c:v>0.80051438359862315</c:v>
                </c:pt>
                <c:pt idx="236">
                  <c:v>0.80051438359862315</c:v>
                </c:pt>
                <c:pt idx="237">
                  <c:v>0.80051438359862315</c:v>
                </c:pt>
                <c:pt idx="238">
                  <c:v>0.80051438359862315</c:v>
                </c:pt>
                <c:pt idx="239">
                  <c:v>0.80051438359862315</c:v>
                </c:pt>
                <c:pt idx="240">
                  <c:v>0.80051438359862315</c:v>
                </c:pt>
                <c:pt idx="241">
                  <c:v>0.80051438359862315</c:v>
                </c:pt>
                <c:pt idx="242">
                  <c:v>0.80051438359862315</c:v>
                </c:pt>
                <c:pt idx="243">
                  <c:v>0.80051438359862315</c:v>
                </c:pt>
                <c:pt idx="244">
                  <c:v>0.800514383598623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B-F267-42C6-AC42-927B0F02AEC7}"/>
            </c:ext>
          </c:extLst>
        </c:ser>
        <c:ser>
          <c:idx val="15"/>
          <c:order val="15"/>
          <c:tx>
            <c:strRef>
              <c:f>List1!$Q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Q$5:$Q$249</c:f>
              <c:numCache>
                <c:formatCode>0.00%</c:formatCode>
                <c:ptCount val="245"/>
                <c:pt idx="0">
                  <c:v>1.1689520964100778E-3</c:v>
                </c:pt>
                <c:pt idx="1">
                  <c:v>1.3147640771084123E-3</c:v>
                </c:pt>
                <c:pt idx="2">
                  <c:v>1.3439041436951391E-3</c:v>
                </c:pt>
                <c:pt idx="3">
                  <c:v>1.4851385660407694E-3</c:v>
                </c:pt>
                <c:pt idx="4">
                  <c:v>1.5871846229766635E-3</c:v>
                </c:pt>
                <c:pt idx="5">
                  <c:v>1.9863253817795313E-3</c:v>
                </c:pt>
                <c:pt idx="6">
                  <c:v>2.4877354930476939E-3</c:v>
                </c:pt>
                <c:pt idx="7">
                  <c:v>3.1374138358375926E-3</c:v>
                </c:pt>
                <c:pt idx="8">
                  <c:v>4.0242320308505105E-3</c:v>
                </c:pt>
                <c:pt idx="9">
                  <c:v>5.1337875164401336E-3</c:v>
                </c:pt>
                <c:pt idx="10">
                  <c:v>5.3584228190167406E-3</c:v>
                </c:pt>
                <c:pt idx="11">
                  <c:v>5.5539180550066205E-3</c:v>
                </c:pt>
                <c:pt idx="12">
                  <c:v>6.647954501302929E-3</c:v>
                </c:pt>
                <c:pt idx="13">
                  <c:v>8.1395686376963053E-3</c:v>
                </c:pt>
                <c:pt idx="14">
                  <c:v>9.6437989715007916E-3</c:v>
                </c:pt>
                <c:pt idx="15">
                  <c:v>1.1336490732119052E-2</c:v>
                </c:pt>
                <c:pt idx="16">
                  <c:v>1.2892860572038487E-2</c:v>
                </c:pt>
                <c:pt idx="17">
                  <c:v>1.3269336834607234E-2</c:v>
                </c:pt>
                <c:pt idx="18">
                  <c:v>1.3559174431768701E-2</c:v>
                </c:pt>
                <c:pt idx="19">
                  <c:v>1.4949189102284982E-2</c:v>
                </c:pt>
                <c:pt idx="20">
                  <c:v>1.6345344399859772E-2</c:v>
                </c:pt>
                <c:pt idx="21">
                  <c:v>1.7864758829663471E-2</c:v>
                </c:pt>
                <c:pt idx="22">
                  <c:v>1.9602332991691174E-2</c:v>
                </c:pt>
                <c:pt idx="23">
                  <c:v>2.1254384965958596E-2</c:v>
                </c:pt>
                <c:pt idx="24">
                  <c:v>2.1620589634174934E-2</c:v>
                </c:pt>
                <c:pt idx="25">
                  <c:v>2.1871238865926665E-2</c:v>
                </c:pt>
                <c:pt idx="26">
                  <c:v>2.2942610815988852E-2</c:v>
                </c:pt>
                <c:pt idx="27">
                  <c:v>2.4114130810987032E-2</c:v>
                </c:pt>
                <c:pt idx="28">
                  <c:v>2.511784421564096E-2</c:v>
                </c:pt>
                <c:pt idx="29">
                  <c:v>2.5902504705953282E-2</c:v>
                </c:pt>
                <c:pt idx="30">
                  <c:v>2.6592264596270516E-2</c:v>
                </c:pt>
                <c:pt idx="31">
                  <c:v>2.6672427691325194E-2</c:v>
                </c:pt>
                <c:pt idx="32">
                  <c:v>2.6750916069909366E-2</c:v>
                </c:pt>
                <c:pt idx="33">
                  <c:v>2.7191701444945371E-2</c:v>
                </c:pt>
                <c:pt idx="34">
                  <c:v>2.7651355292215695E-2</c:v>
                </c:pt>
                <c:pt idx="35">
                  <c:v>2.8141265683719746E-2</c:v>
                </c:pt>
                <c:pt idx="36">
                  <c:v>2.8685771832162147E-2</c:v>
                </c:pt>
                <c:pt idx="37">
                  <c:v>2.9292689081071906E-2</c:v>
                </c:pt>
                <c:pt idx="38">
                  <c:v>2.9386026612361196E-2</c:v>
                </c:pt>
                <c:pt idx="39">
                  <c:v>2.9480480621297482E-2</c:v>
                </c:pt>
                <c:pt idx="40">
                  <c:v>2.9929862874215396E-2</c:v>
                </c:pt>
                <c:pt idx="41">
                  <c:v>3.0495247154656718E-2</c:v>
                </c:pt>
                <c:pt idx="42">
                  <c:v>3.1105402188742779E-2</c:v>
                </c:pt>
                <c:pt idx="43">
                  <c:v>3.1806326855530025E-2</c:v>
                </c:pt>
                <c:pt idx="44">
                  <c:v>3.2554925117844219E-2</c:v>
                </c:pt>
                <c:pt idx="45">
                  <c:v>3.2730993642776277E-2</c:v>
                </c:pt>
                <c:pt idx="46">
                  <c:v>3.2841301634299977E-2</c:v>
                </c:pt>
                <c:pt idx="47">
                  <c:v>3.3549483405792731E-2</c:v>
                </c:pt>
                <c:pt idx="48">
                  <c:v>3.4516799639154425E-2</c:v>
                </c:pt>
                <c:pt idx="49">
                  <c:v>3.559542869392212E-2</c:v>
                </c:pt>
                <c:pt idx="50">
                  <c:v>3.6965235119027683E-2</c:v>
                </c:pt>
                <c:pt idx="51">
                  <c:v>3.8283683572371198E-2</c:v>
                </c:pt>
                <c:pt idx="52">
                  <c:v>3.8499610349301196E-2</c:v>
                </c:pt>
                <c:pt idx="53">
                  <c:v>3.8613937660354099E-2</c:v>
                </c:pt>
                <c:pt idx="54">
                  <c:v>3.9739235480766438E-2</c:v>
                </c:pt>
                <c:pt idx="55">
                  <c:v>4.1175807269162666E-2</c:v>
                </c:pt>
                <c:pt idx="56">
                  <c:v>4.2717327956376984E-2</c:v>
                </c:pt>
                <c:pt idx="57">
                  <c:v>4.4718055899802829E-2</c:v>
                </c:pt>
                <c:pt idx="58">
                  <c:v>4.6515249968180385E-2</c:v>
                </c:pt>
                <c:pt idx="59">
                  <c:v>4.6842712862045791E-2</c:v>
                </c:pt>
                <c:pt idx="60">
                  <c:v>4.7103633688149932E-2</c:v>
                </c:pt>
                <c:pt idx="61">
                  <c:v>4.9265246060508625E-2</c:v>
                </c:pt>
                <c:pt idx="62">
                  <c:v>5.2289225767410907E-2</c:v>
                </c:pt>
                <c:pt idx="63">
                  <c:v>5.5704865832881159E-2</c:v>
                </c:pt>
                <c:pt idx="64">
                  <c:v>5.9396722468219462E-2</c:v>
                </c:pt>
                <c:pt idx="65">
                  <c:v>6.2596882347818517E-2</c:v>
                </c:pt>
                <c:pt idx="66">
                  <c:v>6.3944582515513451E-2</c:v>
                </c:pt>
                <c:pt idx="67">
                  <c:v>6.5210891462742018E-2</c:v>
                </c:pt>
                <c:pt idx="68">
                  <c:v>6.8510417852924166E-2</c:v>
                </c:pt>
                <c:pt idx="69">
                  <c:v>7.254291181836249E-2</c:v>
                </c:pt>
                <c:pt idx="70">
                  <c:v>7.7120470171066699E-2</c:v>
                </c:pt>
                <c:pt idx="71">
                  <c:v>8.208890734798599E-2</c:v>
                </c:pt>
                <c:pt idx="72">
                  <c:v>8.6391477256233848E-2</c:v>
                </c:pt>
                <c:pt idx="73">
                  <c:v>8.8288596074017997E-2</c:v>
                </c:pt>
                <c:pt idx="74">
                  <c:v>8.9631272092301442E-2</c:v>
                </c:pt>
                <c:pt idx="75">
                  <c:v>9.2777282806020947E-2</c:v>
                </c:pt>
                <c:pt idx="76">
                  <c:v>9.709715811779733E-2</c:v>
                </c:pt>
                <c:pt idx="77">
                  <c:v>0.10125782371711135</c:v>
                </c:pt>
                <c:pt idx="78">
                  <c:v>0.10546538137759943</c:v>
                </c:pt>
                <c:pt idx="79">
                  <c:v>0.10927580793904926</c:v>
                </c:pt>
                <c:pt idx="80">
                  <c:v>0.11095018946625669</c:v>
                </c:pt>
                <c:pt idx="81">
                  <c:v>0.11177024229797895</c:v>
                </c:pt>
                <c:pt idx="82">
                  <c:v>0.11446452615572184</c:v>
                </c:pt>
                <c:pt idx="83">
                  <c:v>0.11740052742404045</c:v>
                </c:pt>
                <c:pt idx="84">
                  <c:v>0.12036477557682818</c:v>
                </c:pt>
                <c:pt idx="85">
                  <c:v>0.12327978706538316</c:v>
                </c:pt>
                <c:pt idx="86">
                  <c:v>0.126026210429241</c:v>
                </c:pt>
                <c:pt idx="87">
                  <c:v>0.12695880420778097</c:v>
                </c:pt>
                <c:pt idx="88">
                  <c:v>0.12757074560610221</c:v>
                </c:pt>
                <c:pt idx="89">
                  <c:v>0.12966302471658214</c:v>
                </c:pt>
                <c:pt idx="90">
                  <c:v>0.13239337080232316</c:v>
                </c:pt>
                <c:pt idx="91">
                  <c:v>0.13494563870336751</c:v>
                </c:pt>
                <c:pt idx="92">
                  <c:v>0.13777590953851512</c:v>
                </c:pt>
                <c:pt idx="93">
                  <c:v>0.13853433280412292</c:v>
                </c:pt>
                <c:pt idx="94">
                  <c:v>0.13893079401657299</c:v>
                </c:pt>
                <c:pt idx="95">
                  <c:v>0.13920611740432345</c:v>
                </c:pt>
                <c:pt idx="96">
                  <c:v>0.13946368879748658</c:v>
                </c:pt>
                <c:pt idx="97">
                  <c:v>0.14124737348633543</c:v>
                </c:pt>
                <c:pt idx="98">
                  <c:v>0.14383391725114272</c:v>
                </c:pt>
                <c:pt idx="99">
                  <c:v>0.14809272123562814</c:v>
                </c:pt>
                <c:pt idx="100">
                  <c:v>0.15242632922246263</c:v>
                </c:pt>
                <c:pt idx="101">
                  <c:v>0.1541314138849626</c:v>
                </c:pt>
                <c:pt idx="102">
                  <c:v>0.15521305742937722</c:v>
                </c:pt>
                <c:pt idx="103">
                  <c:v>0.159422959692924</c:v>
                </c:pt>
                <c:pt idx="104">
                  <c:v>0.16341849824824659</c:v>
                </c:pt>
                <c:pt idx="105">
                  <c:v>0.16770956843673032</c:v>
                </c:pt>
                <c:pt idx="106">
                  <c:v>0.1730072548717502</c:v>
                </c:pt>
                <c:pt idx="107">
                  <c:v>0.17795079459714136</c:v>
                </c:pt>
                <c:pt idx="108">
                  <c:v>0.17979744862528108</c:v>
                </c:pt>
                <c:pt idx="109">
                  <c:v>0.18123703490332421</c:v>
                </c:pt>
                <c:pt idx="110">
                  <c:v>0.18610230954566059</c:v>
                </c:pt>
                <c:pt idx="111">
                  <c:v>0.19077421025953639</c:v>
                </c:pt>
                <c:pt idx="112">
                  <c:v>0.19607848391267357</c:v>
                </c:pt>
                <c:pt idx="113">
                  <c:v>0.20212376378012537</c:v>
                </c:pt>
                <c:pt idx="114">
                  <c:v>0.20766819177513246</c:v>
                </c:pt>
                <c:pt idx="115">
                  <c:v>0.20964659016561829</c:v>
                </c:pt>
                <c:pt idx="116">
                  <c:v>0.21127608929141631</c:v>
                </c:pt>
                <c:pt idx="117">
                  <c:v>0.21677697465819037</c:v>
                </c:pt>
                <c:pt idx="118">
                  <c:v>0.22220316767038006</c:v>
                </c:pt>
                <c:pt idx="119">
                  <c:v>0.22872071758251328</c:v>
                </c:pt>
                <c:pt idx="120">
                  <c:v>0.23596475949955006</c:v>
                </c:pt>
                <c:pt idx="121">
                  <c:v>0.2428466160678997</c:v>
                </c:pt>
                <c:pt idx="122">
                  <c:v>0.24498679206943597</c:v>
                </c:pt>
                <c:pt idx="123">
                  <c:v>0.247082755556151</c:v>
                </c:pt>
                <c:pt idx="124">
                  <c:v>0.25452653532423625</c:v>
                </c:pt>
                <c:pt idx="125">
                  <c:v>0.26186737585326803</c:v>
                </c:pt>
                <c:pt idx="126">
                  <c:v>0.26996797942108403</c:v>
                </c:pt>
                <c:pt idx="127">
                  <c:v>0.27885212700156531</c:v>
                </c:pt>
                <c:pt idx="128">
                  <c:v>0.28741115629123987</c:v>
                </c:pt>
                <c:pt idx="129">
                  <c:v>0.2906724991458946</c:v>
                </c:pt>
                <c:pt idx="130">
                  <c:v>0.29335327362410879</c:v>
                </c:pt>
                <c:pt idx="131">
                  <c:v>0.3013969368319277</c:v>
                </c:pt>
                <c:pt idx="132">
                  <c:v>0.30981629476796246</c:v>
                </c:pt>
                <c:pt idx="133">
                  <c:v>0.31865176392303451</c:v>
                </c:pt>
                <c:pt idx="134">
                  <c:v>0.32794532385667108</c:v>
                </c:pt>
                <c:pt idx="135">
                  <c:v>0.33671793532021693</c:v>
                </c:pt>
                <c:pt idx="136">
                  <c:v>0.3402458930369755</c:v>
                </c:pt>
                <c:pt idx="137">
                  <c:v>0.34310720195070976</c:v>
                </c:pt>
                <c:pt idx="138">
                  <c:v>0.35113623930135296</c:v>
                </c:pt>
                <c:pt idx="139">
                  <c:v>0.35909739481105851</c:v>
                </c:pt>
                <c:pt idx="140">
                  <c:v>0.36766167154567397</c:v>
                </c:pt>
                <c:pt idx="141">
                  <c:v>0.37600421581959509</c:v>
                </c:pt>
                <c:pt idx="142">
                  <c:v>0.38360675870908389</c:v>
                </c:pt>
                <c:pt idx="143">
                  <c:v>0.38717345820019339</c:v>
                </c:pt>
                <c:pt idx="144">
                  <c:v>0.38964388828971253</c:v>
                </c:pt>
                <c:pt idx="145">
                  <c:v>0.39485504770708985</c:v>
                </c:pt>
                <c:pt idx="146">
                  <c:v>0.40058280133173452</c:v>
                </c:pt>
                <c:pt idx="147">
                  <c:v>0.40807425469534675</c:v>
                </c:pt>
                <c:pt idx="148">
                  <c:v>0.41485518168440749</c:v>
                </c:pt>
                <c:pt idx="149">
                  <c:v>0.42167172431040756</c:v>
                </c:pt>
                <c:pt idx="150">
                  <c:v>0.42489432539071137</c:v>
                </c:pt>
                <c:pt idx="151">
                  <c:v>0.42736341570705411</c:v>
                </c:pt>
                <c:pt idx="152">
                  <c:v>0.43345022854297433</c:v>
                </c:pt>
                <c:pt idx="153">
                  <c:v>0.43992468241793331</c:v>
                </c:pt>
                <c:pt idx="154">
                  <c:v>0.44686236286863301</c:v>
                </c:pt>
                <c:pt idx="155">
                  <c:v>0.4532745172908893</c:v>
                </c:pt>
                <c:pt idx="156">
                  <c:v>0.46016776193123837</c:v>
                </c:pt>
                <c:pt idx="157">
                  <c:v>0.46387804044775222</c:v>
                </c:pt>
                <c:pt idx="158">
                  <c:v>0.46686126872053896</c:v>
                </c:pt>
                <c:pt idx="159">
                  <c:v>0.47376601308065214</c:v>
                </c:pt>
                <c:pt idx="160">
                  <c:v>0.48071552819441005</c:v>
                </c:pt>
                <c:pt idx="161">
                  <c:v>0.4859071492529648</c:v>
                </c:pt>
                <c:pt idx="162">
                  <c:v>0.49055359427648898</c:v>
                </c:pt>
                <c:pt idx="163">
                  <c:v>0.49520003930001316</c:v>
                </c:pt>
                <c:pt idx="164">
                  <c:v>0.49984648432353734</c:v>
                </c:pt>
                <c:pt idx="165">
                  <c:v>0.50449292934706158</c:v>
                </c:pt>
                <c:pt idx="166">
                  <c:v>0.50913937437058576</c:v>
                </c:pt>
                <c:pt idx="167">
                  <c:v>0.51378581939410994</c:v>
                </c:pt>
                <c:pt idx="168">
                  <c:v>0.51843226441763413</c:v>
                </c:pt>
                <c:pt idx="169">
                  <c:v>0.52307870944115831</c:v>
                </c:pt>
                <c:pt idx="170">
                  <c:v>0.52772515446468249</c:v>
                </c:pt>
                <c:pt idx="171">
                  <c:v>0.53237159948820667</c:v>
                </c:pt>
                <c:pt idx="172">
                  <c:v>0.53701804451173085</c:v>
                </c:pt>
                <c:pt idx="173">
                  <c:v>0.54166448953525503</c:v>
                </c:pt>
                <c:pt idx="174">
                  <c:v>0.54631093455877922</c:v>
                </c:pt>
                <c:pt idx="175">
                  <c:v>0.5509573795823034</c:v>
                </c:pt>
                <c:pt idx="176">
                  <c:v>0.55560382460582758</c:v>
                </c:pt>
                <c:pt idx="177">
                  <c:v>0.56025026962935176</c:v>
                </c:pt>
                <c:pt idx="178">
                  <c:v>0.56489671465287594</c:v>
                </c:pt>
                <c:pt idx="179">
                  <c:v>0.56954315967640012</c:v>
                </c:pt>
                <c:pt idx="180">
                  <c:v>0.57418960469992431</c:v>
                </c:pt>
                <c:pt idx="181">
                  <c:v>0.57883604972344849</c:v>
                </c:pt>
                <c:pt idx="182">
                  <c:v>0.58348249474697267</c:v>
                </c:pt>
                <c:pt idx="183">
                  <c:v>0.59045210645837665</c:v>
                </c:pt>
                <c:pt idx="184">
                  <c:v>0.59742171816978051</c:v>
                </c:pt>
                <c:pt idx="185">
                  <c:v>0.60439132988118449</c:v>
                </c:pt>
                <c:pt idx="186">
                  <c:v>0.61136094159258836</c:v>
                </c:pt>
                <c:pt idx="187">
                  <c:v>0.61833055330399234</c:v>
                </c:pt>
                <c:pt idx="188">
                  <c:v>0.6253001650153962</c:v>
                </c:pt>
                <c:pt idx="189">
                  <c:v>0.63226977672680018</c:v>
                </c:pt>
                <c:pt idx="190">
                  <c:v>0.63923938843820405</c:v>
                </c:pt>
                <c:pt idx="191">
                  <c:v>0.64620900014960803</c:v>
                </c:pt>
                <c:pt idx="192">
                  <c:v>0.65317861186101189</c:v>
                </c:pt>
                <c:pt idx="193">
                  <c:v>0.65943769719786438</c:v>
                </c:pt>
                <c:pt idx="194">
                  <c:v>0.66569678253471687</c:v>
                </c:pt>
                <c:pt idx="195">
                  <c:v>0.67171627176852289</c:v>
                </c:pt>
                <c:pt idx="196">
                  <c:v>0.67773576100232902</c:v>
                </c:pt>
                <c:pt idx="197">
                  <c:v>0.68375525023613504</c:v>
                </c:pt>
                <c:pt idx="198">
                  <c:v>0.68827184890931303</c:v>
                </c:pt>
                <c:pt idx="199">
                  <c:v>0.69150081391220464</c:v>
                </c:pt>
                <c:pt idx="200">
                  <c:v>0.69472977891509635</c:v>
                </c:pt>
                <c:pt idx="201">
                  <c:v>0.69795874391798807</c:v>
                </c:pt>
                <c:pt idx="202">
                  <c:v>0.70087275057666065</c:v>
                </c:pt>
                <c:pt idx="203">
                  <c:v>0.70378675723533335</c:v>
                </c:pt>
                <c:pt idx="204">
                  <c:v>0.70670076389400605</c:v>
                </c:pt>
                <c:pt idx="205">
                  <c:v>0.70961477055267874</c:v>
                </c:pt>
                <c:pt idx="206">
                  <c:v>0.71252877721135144</c:v>
                </c:pt>
                <c:pt idx="207">
                  <c:v>0.71420360532961769</c:v>
                </c:pt>
                <c:pt idx="208">
                  <c:v>0.71587843344788393</c:v>
                </c:pt>
                <c:pt idx="209">
                  <c:v>0.71755326156615018</c:v>
                </c:pt>
                <c:pt idx="210">
                  <c:v>0.71922808968441643</c:v>
                </c:pt>
                <c:pt idx="211">
                  <c:v>0.72090291780268267</c:v>
                </c:pt>
                <c:pt idx="212">
                  <c:v>0.72257774592094892</c:v>
                </c:pt>
                <c:pt idx="213">
                  <c:v>0.72425257403921517</c:v>
                </c:pt>
                <c:pt idx="214">
                  <c:v>0.72917892000884255</c:v>
                </c:pt>
                <c:pt idx="215">
                  <c:v>0.73410526597846981</c:v>
                </c:pt>
                <c:pt idx="216">
                  <c:v>0.73903161194809719</c:v>
                </c:pt>
                <c:pt idx="217">
                  <c:v>0.74294107007683596</c:v>
                </c:pt>
                <c:pt idx="218">
                  <c:v>0.74676054010722648</c:v>
                </c:pt>
                <c:pt idx="219">
                  <c:v>0.75058001013761699</c:v>
                </c:pt>
                <c:pt idx="220">
                  <c:v>0.75439948016800751</c:v>
                </c:pt>
                <c:pt idx="221">
                  <c:v>0.75821895019839802</c:v>
                </c:pt>
                <c:pt idx="222">
                  <c:v>0.76203842022878865</c:v>
                </c:pt>
                <c:pt idx="223">
                  <c:v>0.76585789025917916</c:v>
                </c:pt>
                <c:pt idx="224">
                  <c:v>0.76967736028956968</c:v>
                </c:pt>
                <c:pt idx="225">
                  <c:v>0.77349683031996019</c:v>
                </c:pt>
                <c:pt idx="226">
                  <c:v>0.77731630035035071</c:v>
                </c:pt>
                <c:pt idx="227">
                  <c:v>0.78113577038074122</c:v>
                </c:pt>
                <c:pt idx="228">
                  <c:v>0.78495524041113174</c:v>
                </c:pt>
                <c:pt idx="229">
                  <c:v>0.78877471044152225</c:v>
                </c:pt>
                <c:pt idx="230">
                  <c:v>0.79119690869669101</c:v>
                </c:pt>
                <c:pt idx="231">
                  <c:v>0.79361910695185967</c:v>
                </c:pt>
                <c:pt idx="232">
                  <c:v>0.79604130520702843</c:v>
                </c:pt>
                <c:pt idx="233">
                  <c:v>0.79846350346219719</c:v>
                </c:pt>
                <c:pt idx="234">
                  <c:v>0.80088570171736595</c:v>
                </c:pt>
                <c:pt idx="235">
                  <c:v>0.80171915228085222</c:v>
                </c:pt>
                <c:pt idx="236">
                  <c:v>0.80255260284433849</c:v>
                </c:pt>
                <c:pt idx="237">
                  <c:v>0.80338605340782476</c:v>
                </c:pt>
                <c:pt idx="238">
                  <c:v>0.80421950397131103</c:v>
                </c:pt>
                <c:pt idx="239">
                  <c:v>0.8050529545347973</c:v>
                </c:pt>
                <c:pt idx="240">
                  <c:v>0.80588640509828358</c:v>
                </c:pt>
                <c:pt idx="241">
                  <c:v>0.80671985566176985</c:v>
                </c:pt>
                <c:pt idx="242">
                  <c:v>0.80755330622525612</c:v>
                </c:pt>
                <c:pt idx="243">
                  <c:v>0.80838675678874228</c:v>
                </c:pt>
                <c:pt idx="244">
                  <c:v>0.809220207352228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FE2-4BBA-AEE0-CD96FFDF36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31664431"/>
        <c:axId val="711924943"/>
      </c:lineChart>
      <c:dateAx>
        <c:axId val="83166443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1924943"/>
        <c:crosses val="autoZero"/>
        <c:auto val="1"/>
        <c:lblOffset val="100"/>
        <c:baseTimeUnit val="days"/>
      </c:dateAx>
      <c:valAx>
        <c:axId val="7119249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316644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1500889513993311"/>
          <c:y val="3.3915582154437109E-2"/>
          <c:w val="7.8409173737335566E-2"/>
          <c:h val="0.891362418864909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5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H$2:$H$169</c:f>
              <c:numCache>
                <c:formatCode>General</c:formatCode>
                <c:ptCount val="16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I$2:$I$169</c:f>
              <c:numCache>
                <c:formatCode>General</c:formatCode>
                <c:ptCount val="16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2:$B$169</c:f>
              <c:numCache>
                <c:formatCode>0</c:formatCode>
                <c:ptCount val="168"/>
                <c:pt idx="0">
                  <c:v>445.03823991099796</c:v>
                </c:pt>
                <c:pt idx="1">
                  <c:v>444.63643748136406</c:v>
                </c:pt>
                <c:pt idx="2">
                  <c:v>455.48510308147888</c:v>
                </c:pt>
                <c:pt idx="3">
                  <c:v>456.40083885134214</c:v>
                </c:pt>
                <c:pt idx="4">
                  <c:v>461.77377831737664</c:v>
                </c:pt>
                <c:pt idx="5">
                  <c:v>468.89409114019105</c:v>
                </c:pt>
                <c:pt idx="6">
                  <c:v>467.73540506403748</c:v>
                </c:pt>
                <c:pt idx="7">
                  <c:v>472.88408270888095</c:v>
                </c:pt>
                <c:pt idx="8">
                  <c:v>483.45242103250706</c:v>
                </c:pt>
                <c:pt idx="9">
                  <c:v>482.29373495635355</c:v>
                </c:pt>
                <c:pt idx="10">
                  <c:v>490.79699567651244</c:v>
                </c:pt>
                <c:pt idx="11">
                  <c:v>492.69387691408633</c:v>
                </c:pt>
                <c:pt idx="12">
                  <c:v>495.71206725761527</c:v>
                </c:pt>
                <c:pt idx="13">
                  <c:v>499.73009155395408</c:v>
                </c:pt>
                <c:pt idx="14">
                  <c:v>510.27974139248084</c:v>
                </c:pt>
                <c:pt idx="15">
                  <c:v>532.01444956290902</c:v>
                </c:pt>
                <c:pt idx="16">
                  <c:v>545.09638913238427</c:v>
                </c:pt>
                <c:pt idx="17">
                  <c:v>570.20436886322716</c:v>
                </c:pt>
                <c:pt idx="18">
                  <c:v>593.15382856510655</c:v>
                </c:pt>
                <c:pt idx="19">
                  <c:v>608.41297664864442</c:v>
                </c:pt>
                <c:pt idx="20">
                  <c:v>619.53262528269829</c:v>
                </c:pt>
                <c:pt idx="21">
                  <c:v>643.00536256735688</c:v>
                </c:pt>
                <c:pt idx="22">
                  <c:v>673.26201994304313</c:v>
                </c:pt>
                <c:pt idx="23">
                  <c:v>699.96786514987184</c:v>
                </c:pt>
                <c:pt idx="24">
                  <c:v>726.91666066299081</c:v>
                </c:pt>
                <c:pt idx="25">
                  <c:v>759.58413261648047</c:v>
                </c:pt>
                <c:pt idx="26">
                  <c:v>769.73198002537333</c:v>
                </c:pt>
                <c:pt idx="27">
                  <c:v>774.60967463627776</c:v>
                </c:pt>
                <c:pt idx="28">
                  <c:v>783.06621414368851</c:v>
                </c:pt>
                <c:pt idx="29">
                  <c:v>791.83111365523689</c:v>
                </c:pt>
                <c:pt idx="30">
                  <c:v>805.28682292669714</c:v>
                </c:pt>
                <c:pt idx="31">
                  <c:v>805.84747747967469</c:v>
                </c:pt>
                <c:pt idx="32">
                  <c:v>790.77521424712927</c:v>
                </c:pt>
                <c:pt idx="33">
                  <c:v>802.62371380005402</c:v>
                </c:pt>
                <c:pt idx="34">
                  <c:v>796.93307008733234</c:v>
                </c:pt>
                <c:pt idx="35">
                  <c:v>781.33752927200783</c:v>
                </c:pt>
                <c:pt idx="36">
                  <c:v>768.02198363879188</c:v>
                </c:pt>
                <c:pt idx="37">
                  <c:v>761.47166961150469</c:v>
                </c:pt>
                <c:pt idx="38">
                  <c:v>729.66386797258065</c:v>
                </c:pt>
                <c:pt idx="39">
                  <c:v>746.54891425975336</c:v>
                </c:pt>
                <c:pt idx="40">
                  <c:v>726.93534914809015</c:v>
                </c:pt>
                <c:pt idx="41">
                  <c:v>720.85224724828413</c:v>
                </c:pt>
                <c:pt idx="42">
                  <c:v>720.62798542709311</c:v>
                </c:pt>
                <c:pt idx="43">
                  <c:v>708.16276586589311</c:v>
                </c:pt>
                <c:pt idx="44">
                  <c:v>684.6993728237843</c:v>
                </c:pt>
                <c:pt idx="45">
                  <c:v>679.23299093225364</c:v>
                </c:pt>
                <c:pt idx="46">
                  <c:v>630.06358663612593</c:v>
                </c:pt>
                <c:pt idx="47">
                  <c:v>615.44919128851211</c:v>
                </c:pt>
                <c:pt idx="48">
                  <c:v>606.64691480676527</c:v>
                </c:pt>
                <c:pt idx="49">
                  <c:v>584.32351935571069</c:v>
                </c:pt>
                <c:pt idx="50">
                  <c:v>555.75816988150655</c:v>
                </c:pt>
                <c:pt idx="51">
                  <c:v>526.08085554389709</c:v>
                </c:pt>
                <c:pt idx="52">
                  <c:v>500.55238489832107</c:v>
                </c:pt>
                <c:pt idx="53">
                  <c:v>481.86389979907074</c:v>
                </c:pt>
                <c:pt idx="54">
                  <c:v>467.87556870228184</c:v>
                </c:pt>
                <c:pt idx="55">
                  <c:v>461.82984377267434</c:v>
                </c:pt>
                <c:pt idx="56">
                  <c:v>449.63560724541355</c:v>
                </c:pt>
                <c:pt idx="57">
                  <c:v>427.80745664948915</c:v>
                </c:pt>
                <c:pt idx="58">
                  <c:v>412.98748796578366</c:v>
                </c:pt>
                <c:pt idx="59">
                  <c:v>397.26112775476446</c:v>
                </c:pt>
                <c:pt idx="60">
                  <c:v>361.01481090476841</c:v>
                </c:pt>
                <c:pt idx="61">
                  <c:v>344.10173188994685</c:v>
                </c:pt>
                <c:pt idx="62">
                  <c:v>345.80238403397868</c:v>
                </c:pt>
                <c:pt idx="63">
                  <c:v>294.24085364514696</c:v>
                </c:pt>
                <c:pt idx="64">
                  <c:v>265.76894659643909</c:v>
                </c:pt>
                <c:pt idx="65">
                  <c:v>263.77862293336892</c:v>
                </c:pt>
                <c:pt idx="66">
                  <c:v>254.77077311553026</c:v>
                </c:pt>
                <c:pt idx="67">
                  <c:v>263.97485202691104</c:v>
                </c:pt>
                <c:pt idx="68">
                  <c:v>264.41403142674341</c:v>
                </c:pt>
                <c:pt idx="69">
                  <c:v>255.62109918754612</c:v>
                </c:pt>
                <c:pt idx="70">
                  <c:v>278.49580494902858</c:v>
                </c:pt>
                <c:pt idx="71">
                  <c:v>273.52466791262799</c:v>
                </c:pt>
                <c:pt idx="72">
                  <c:v>242.33358628197917</c:v>
                </c:pt>
                <c:pt idx="73">
                  <c:v>223.46756057428593</c:v>
                </c:pt>
                <c:pt idx="74">
                  <c:v>208.48873976723678</c:v>
                </c:pt>
                <c:pt idx="75">
                  <c:v>202.26547422918642</c:v>
                </c:pt>
                <c:pt idx="76">
                  <c:v>200.84514936164339</c:v>
                </c:pt>
                <c:pt idx="77">
                  <c:v>195.93942202309017</c:v>
                </c:pt>
                <c:pt idx="78">
                  <c:v>184.37124974665423</c:v>
                </c:pt>
                <c:pt idx="79">
                  <c:v>177.22290419619097</c:v>
                </c:pt>
                <c:pt idx="80">
                  <c:v>171.28931017717898</c:v>
                </c:pt>
                <c:pt idx="81">
                  <c:v>165.52391252406025</c:v>
                </c:pt>
                <c:pt idx="82">
                  <c:v>163.34670400999758</c:v>
                </c:pt>
                <c:pt idx="83">
                  <c:v>163.27195006960059</c:v>
                </c:pt>
                <c:pt idx="84">
                  <c:v>156.15163724678621</c:v>
                </c:pt>
                <c:pt idx="85">
                  <c:v>150.75066505310286</c:v>
                </c:pt>
                <c:pt idx="86">
                  <c:v>146.4242807526264</c:v>
                </c:pt>
                <c:pt idx="87">
                  <c:v>142.68658373277634</c:v>
                </c:pt>
                <c:pt idx="88">
                  <c:v>138.63118246623901</c:v>
                </c:pt>
                <c:pt idx="89">
                  <c:v>137.35102123694037</c:v>
                </c:pt>
                <c:pt idx="90">
                  <c:v>134.38889634870918</c:v>
                </c:pt>
                <c:pt idx="91">
                  <c:v>131.0156247882945</c:v>
                </c:pt>
                <c:pt idx="92">
                  <c:v>123.31596892740336</c:v>
                </c:pt>
                <c:pt idx="93">
                  <c:v>117.56925975938388</c:v>
                </c:pt>
                <c:pt idx="94">
                  <c:v>111.43009240428015</c:v>
                </c:pt>
                <c:pt idx="95">
                  <c:v>106.48698809552845</c:v>
                </c:pt>
                <c:pt idx="96">
                  <c:v>102.31945591839562</c:v>
                </c:pt>
                <c:pt idx="97">
                  <c:v>101.16076984224209</c:v>
                </c:pt>
                <c:pt idx="98">
                  <c:v>94.862750363794731</c:v>
                </c:pt>
                <c:pt idx="99">
                  <c:v>88.088174515316481</c:v>
                </c:pt>
                <c:pt idx="100">
                  <c:v>82.397530802594744</c:v>
                </c:pt>
                <c:pt idx="101">
                  <c:v>79.136390152775562</c:v>
                </c:pt>
                <c:pt idx="102">
                  <c:v>73.651319776145598</c:v>
                </c:pt>
                <c:pt idx="103">
                  <c:v>72.455256729793561</c:v>
                </c:pt>
                <c:pt idx="104">
                  <c:v>71.268537925991168</c:v>
                </c:pt>
                <c:pt idx="105">
                  <c:v>67.39067726789672</c:v>
                </c:pt>
                <c:pt idx="106">
                  <c:v>62.802654176030771</c:v>
                </c:pt>
                <c:pt idx="107">
                  <c:v>58.261352296912932</c:v>
                </c:pt>
                <c:pt idx="108">
                  <c:v>53.159395864817597</c:v>
                </c:pt>
                <c:pt idx="109">
                  <c:v>49.608583695960021</c:v>
                </c:pt>
                <c:pt idx="110">
                  <c:v>47.15104790540861</c:v>
                </c:pt>
                <c:pt idx="111">
                  <c:v>46.590393352431093</c:v>
                </c:pt>
                <c:pt idx="112">
                  <c:v>42.544336328443393</c:v>
                </c:pt>
                <c:pt idx="113">
                  <c:v>37.51713383674506</c:v>
                </c:pt>
                <c:pt idx="114">
                  <c:v>35.274515624835018</c:v>
                </c:pt>
                <c:pt idx="115">
                  <c:v>33.676650148849113</c:v>
                </c:pt>
                <c:pt idx="116">
                  <c:v>31.639605273030821</c:v>
                </c:pt>
                <c:pt idx="117">
                  <c:v>30.593050107472802</c:v>
                </c:pt>
                <c:pt idx="118">
                  <c:v>29.798789490754665</c:v>
                </c:pt>
                <c:pt idx="119">
                  <c:v>28.070104619074009</c:v>
                </c:pt>
                <c:pt idx="120">
                  <c:v>26.36945247504223</c:v>
                </c:pt>
                <c:pt idx="121">
                  <c:v>24.622079118262324</c:v>
                </c:pt>
                <c:pt idx="122">
                  <c:v>23.846506986643433</c:v>
                </c:pt>
                <c:pt idx="123">
                  <c:v>22.594378484993662</c:v>
                </c:pt>
                <c:pt idx="124">
                  <c:v>21.940281506519899</c:v>
                </c:pt>
                <c:pt idx="125">
                  <c:v>21.800117868275521</c:v>
                </c:pt>
                <c:pt idx="126">
                  <c:v>19.763072992457232</c:v>
                </c:pt>
                <c:pt idx="127">
                  <c:v>18.894058435342092</c:v>
                </c:pt>
                <c:pt idx="128">
                  <c:v>17.95028993782995</c:v>
                </c:pt>
                <c:pt idx="129">
                  <c:v>15.773081423767286</c:v>
                </c:pt>
                <c:pt idx="130">
                  <c:v>14.464887466819764</c:v>
                </c:pt>
                <c:pt idx="131">
                  <c:v>13.726692305399373</c:v>
                </c:pt>
                <c:pt idx="132">
                  <c:v>13.203414722620364</c:v>
                </c:pt>
                <c:pt idx="133">
                  <c:v>12.091449859214968</c:v>
                </c:pt>
                <c:pt idx="134">
                  <c:v>10.409486200282439</c:v>
                </c:pt>
                <c:pt idx="135">
                  <c:v>9.2694886092281674</c:v>
                </c:pt>
                <c:pt idx="136">
                  <c:v>8.9611286050905381</c:v>
                </c:pt>
                <c:pt idx="137">
                  <c:v>8.6153916307544076</c:v>
                </c:pt>
                <c:pt idx="138">
                  <c:v>8.5219492052581547</c:v>
                </c:pt>
                <c:pt idx="139">
                  <c:v>8.6714570860521576</c:v>
                </c:pt>
                <c:pt idx="140">
                  <c:v>8.138835260723523</c:v>
                </c:pt>
                <c:pt idx="141">
                  <c:v>7.2604764610587571</c:v>
                </c:pt>
                <c:pt idx="142">
                  <c:v>7.0455588824173772</c:v>
                </c:pt>
                <c:pt idx="143">
                  <c:v>6.4755600868902432</c:v>
                </c:pt>
                <c:pt idx="144">
                  <c:v>6.3821176613939912</c:v>
                </c:pt>
                <c:pt idx="145">
                  <c:v>6.4194946315924915</c:v>
                </c:pt>
                <c:pt idx="146">
                  <c:v>6.4101503890428662</c:v>
                </c:pt>
                <c:pt idx="147">
                  <c:v>6.6904776655316214</c:v>
                </c:pt>
                <c:pt idx="148">
                  <c:v>7.1016243377151289</c:v>
                </c:pt>
                <c:pt idx="149">
                  <c:v>7.3912958567535085</c:v>
                </c:pt>
                <c:pt idx="150">
                  <c:v>8.0453928352272719</c:v>
                </c:pt>
                <c:pt idx="151">
                  <c:v>8.3350643542656506</c:v>
                </c:pt>
                <c:pt idx="152">
                  <c:v>8.867686179594287</c:v>
                </c:pt>
                <c:pt idx="153">
                  <c:v>9.32555406452591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2:$C$169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2:$D$169</c:f>
              <c:numCache>
                <c:formatCode>General</c:formatCode>
                <c:ptCount val="168"/>
                <c:pt idx="119" formatCode="0">
                  <c:v>28.462562806158267</c:v>
                </c:pt>
                <c:pt idx="120" formatCode="0">
                  <c:v>26.659123994080609</c:v>
                </c:pt>
                <c:pt idx="121" formatCode="0">
                  <c:v>24.986504577697705</c:v>
                </c:pt>
                <c:pt idx="122" formatCode="0">
                  <c:v>23.463393042108802</c:v>
                </c:pt>
                <c:pt idx="123" formatCode="0">
                  <c:v>22.061756659665026</c:v>
                </c:pt>
                <c:pt idx="124" formatCode="0">
                  <c:v>20.781595430366377</c:v>
                </c:pt>
                <c:pt idx="125" formatCode="0">
                  <c:v>19.604220869113608</c:v>
                </c:pt>
                <c:pt idx="126" formatCode="0">
                  <c:v>18.510944490807461</c:v>
                </c:pt>
                <c:pt idx="127" formatCode="0">
                  <c:v>17.473733567799066</c:v>
                </c:pt>
                <c:pt idx="128" formatCode="0">
                  <c:v>16.492588100088422</c:v>
                </c:pt>
                <c:pt idx="129" formatCode="0">
                  <c:v>15.576852330225158</c:v>
                </c:pt>
                <c:pt idx="130" formatCode="0">
                  <c:v>14.726526258209267</c:v>
                </c:pt>
                <c:pt idx="131" formatCode="0">
                  <c:v>13.932265641491126</c:v>
                </c:pt>
                <c:pt idx="132" formatCode="0">
                  <c:v>13.184726237521115</c:v>
                </c:pt>
                <c:pt idx="133" formatCode="0">
                  <c:v>12.493252288848852</c:v>
                </c:pt>
                <c:pt idx="134" formatCode="0">
                  <c:v>11.829811067825464</c:v>
                </c:pt>
                <c:pt idx="135" formatCode="0">
                  <c:v>11.213091059550203</c:v>
                </c:pt>
                <c:pt idx="136" formatCode="0">
                  <c:v>10.633748021473442</c:v>
                </c:pt>
                <c:pt idx="137" formatCode="0">
                  <c:v>10.091781953595182</c:v>
                </c:pt>
                <c:pt idx="138" formatCode="0">
                  <c:v>9.5871928559154238</c:v>
                </c:pt>
                <c:pt idx="139" formatCode="0">
                  <c:v>9.1199807284341663</c:v>
                </c:pt>
                <c:pt idx="140" formatCode="0">
                  <c:v>8.6714570860521576</c:v>
                </c:pt>
                <c:pt idx="141" formatCode="0">
                  <c:v>8.2603104138686501</c:v>
                </c:pt>
                <c:pt idx="142" formatCode="0">
                  <c:v>7.8678522267843931</c:v>
                </c:pt>
                <c:pt idx="143" formatCode="0">
                  <c:v>7.503426767349012</c:v>
                </c:pt>
                <c:pt idx="144" formatCode="0">
                  <c:v>7.1670340355625051</c:v>
                </c:pt>
                <c:pt idx="145" formatCode="0">
                  <c:v>6.8399855463256243</c:v>
                </c:pt>
                <c:pt idx="146" formatCode="0">
                  <c:v>6.5316255421879932</c:v>
                </c:pt>
                <c:pt idx="147" formatCode="0">
                  <c:v>6.2419540231496136</c:v>
                </c:pt>
                <c:pt idx="148" formatCode="0">
                  <c:v>5.9803152317601089</c:v>
                </c:pt>
                <c:pt idx="149" formatCode="0">
                  <c:v>5.7280206829202287</c:v>
                </c:pt>
                <c:pt idx="150" formatCode="0">
                  <c:v>5.4944146191795991</c:v>
                </c:pt>
                <c:pt idx="151" formatCode="0">
                  <c:v>5.2701527979885956</c:v>
                </c:pt>
                <c:pt idx="152" formatCode="0">
                  <c:v>5.0645794618968418</c:v>
                </c:pt>
                <c:pt idx="153" formatCode="0">
                  <c:v>4.8683503683547134</c:v>
                </c:pt>
                <c:pt idx="154" formatCode="0">
                  <c:v>4.6908097599118355</c:v>
                </c:pt>
                <c:pt idx="155" formatCode="0">
                  <c:v>4.5132691514689576</c:v>
                </c:pt>
                <c:pt idx="156" formatCode="0">
                  <c:v>4.3637612706749547</c:v>
                </c:pt>
                <c:pt idx="157" formatCode="0">
                  <c:v>4.2142533898809518</c:v>
                </c:pt>
                <c:pt idx="158" formatCode="0">
                  <c:v>4.0834339941861986</c:v>
                </c:pt>
                <c:pt idx="159" formatCode="0">
                  <c:v>3.9526145984914467</c:v>
                </c:pt>
                <c:pt idx="160" formatCode="0">
                  <c:v>3.8311394453463197</c:v>
                </c:pt>
                <c:pt idx="161" formatCode="0">
                  <c:v>3.7190085347508175</c:v>
                </c:pt>
                <c:pt idx="162" formatCode="0">
                  <c:v>3.6068776241553153</c:v>
                </c:pt>
                <c:pt idx="163" formatCode="0">
                  <c:v>3.5040909561094389</c:v>
                </c:pt>
                <c:pt idx="164" formatCode="0">
                  <c:v>3.4106485306131873</c:v>
                </c:pt>
                <c:pt idx="165" formatCode="0">
                  <c:v>3.3172061051169357</c:v>
                </c:pt>
                <c:pt idx="166" formatCode="0">
                  <c:v>3.2237636796206832</c:v>
                </c:pt>
                <c:pt idx="167" formatCode="0">
                  <c:v>3.14900973922368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2:$F$169</c:f>
              <c:numCache>
                <c:formatCode>General</c:formatCode>
                <c:ptCount val="168"/>
                <c:pt idx="119" formatCode="0">
                  <c:v>28.462562806158267</c:v>
                </c:pt>
                <c:pt idx="120" formatCode="0">
                  <c:v>26.995516725867116</c:v>
                </c:pt>
                <c:pt idx="121" formatCode="0">
                  <c:v>25.827486407163967</c:v>
                </c:pt>
                <c:pt idx="122" formatCode="0">
                  <c:v>24.893062152201452</c:v>
                </c:pt>
                <c:pt idx="123" formatCode="0">
                  <c:v>24.117490020582562</c:v>
                </c:pt>
                <c:pt idx="124" formatCode="0">
                  <c:v>23.528802739956177</c:v>
                </c:pt>
                <c:pt idx="125" formatCode="0">
                  <c:v>23.145688795421545</c:v>
                </c:pt>
                <c:pt idx="126" formatCode="0">
                  <c:v>22.968148186978667</c:v>
                </c:pt>
                <c:pt idx="127" formatCode="0">
                  <c:v>22.613066970092909</c:v>
                </c:pt>
                <c:pt idx="128" formatCode="0">
                  <c:v>22.201920297909403</c:v>
                </c:pt>
                <c:pt idx="129" formatCode="0">
                  <c:v>21.818806353374772</c:v>
                </c:pt>
                <c:pt idx="130" formatCode="0">
                  <c:v>21.501102106687515</c:v>
                </c:pt>
                <c:pt idx="131" formatCode="0">
                  <c:v>21.239463315298011</c:v>
                </c:pt>
                <c:pt idx="132" formatCode="0">
                  <c:v>20.987168766458133</c:v>
                </c:pt>
                <c:pt idx="133" formatCode="0">
                  <c:v>20.716185732519001</c:v>
                </c:pt>
                <c:pt idx="134" formatCode="0">
                  <c:v>20.407825728381368</c:v>
                </c:pt>
                <c:pt idx="135" formatCode="0">
                  <c:v>20.108809966793366</c:v>
                </c:pt>
                <c:pt idx="136" formatCode="0">
                  <c:v>19.828482690304611</c:v>
                </c:pt>
                <c:pt idx="137" formatCode="0">
                  <c:v>19.585532384014353</c:v>
                </c:pt>
                <c:pt idx="138" formatCode="0">
                  <c:v>19.333237835174476</c:v>
                </c:pt>
                <c:pt idx="139" formatCode="0">
                  <c:v>19.071599043784971</c:v>
                </c:pt>
                <c:pt idx="140" formatCode="0">
                  <c:v>18.809960252395467</c:v>
                </c:pt>
                <c:pt idx="141" formatCode="0">
                  <c:v>18.557665703555585</c:v>
                </c:pt>
                <c:pt idx="142" formatCode="0">
                  <c:v>18.314715397265331</c:v>
                </c:pt>
                <c:pt idx="143" formatCode="0">
                  <c:v>18.090453576074328</c:v>
                </c:pt>
                <c:pt idx="144" formatCode="0">
                  <c:v>17.866191754883324</c:v>
                </c:pt>
                <c:pt idx="145" formatCode="0">
                  <c:v>17.641929933692321</c:v>
                </c:pt>
                <c:pt idx="146" formatCode="0">
                  <c:v>17.417668112501318</c:v>
                </c:pt>
                <c:pt idx="147" formatCode="0">
                  <c:v>17.193406291310311</c:v>
                </c:pt>
                <c:pt idx="148" formatCode="0">
                  <c:v>16.978488712668934</c:v>
                </c:pt>
                <c:pt idx="149" formatCode="0">
                  <c:v>16.772915376577181</c:v>
                </c:pt>
                <c:pt idx="150" formatCode="0">
                  <c:v>16.567342040485425</c:v>
                </c:pt>
                <c:pt idx="151" formatCode="0">
                  <c:v>16.361768704393672</c:v>
                </c:pt>
                <c:pt idx="152" formatCode="0">
                  <c:v>16.156195368301919</c:v>
                </c:pt>
                <c:pt idx="153" formatCode="0">
                  <c:v>15.95996627475979</c:v>
                </c:pt>
                <c:pt idx="154" formatCode="0">
                  <c:v>15.773081423767286</c:v>
                </c:pt>
                <c:pt idx="155" formatCode="0">
                  <c:v>15.586196572774783</c:v>
                </c:pt>
                <c:pt idx="156" formatCode="0">
                  <c:v>15.399311721782279</c:v>
                </c:pt>
                <c:pt idx="157" formatCode="0">
                  <c:v>15.221771113339402</c:v>
                </c:pt>
                <c:pt idx="158" formatCode="0">
                  <c:v>15.044230504896523</c:v>
                </c:pt>
                <c:pt idx="159" formatCode="0">
                  <c:v>14.87603413900327</c:v>
                </c:pt>
                <c:pt idx="160" formatCode="0">
                  <c:v>14.707837773110016</c:v>
                </c:pt>
                <c:pt idx="161" formatCode="0">
                  <c:v>14.539641407216765</c:v>
                </c:pt>
                <c:pt idx="162" formatCode="0">
                  <c:v>14.371445041323511</c:v>
                </c:pt>
                <c:pt idx="163" formatCode="0">
                  <c:v>14.212592917979883</c:v>
                </c:pt>
                <c:pt idx="164" formatCode="0">
                  <c:v>14.053740794636255</c:v>
                </c:pt>
                <c:pt idx="165" formatCode="0">
                  <c:v>13.894888671292627</c:v>
                </c:pt>
                <c:pt idx="166" formatCode="0">
                  <c:v>13.745380790498624</c:v>
                </c:pt>
                <c:pt idx="167" formatCode="0">
                  <c:v>13.5958729097046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2:$G$169</c:f>
              <c:numCache>
                <c:formatCode>General</c:formatCode>
                <c:ptCount val="168"/>
                <c:pt idx="119" formatCode="0">
                  <c:v>28.462562806158267</c:v>
                </c:pt>
                <c:pt idx="120" formatCode="0">
                  <c:v>27.331909457653623</c:v>
                </c:pt>
                <c:pt idx="121" formatCode="0">
                  <c:v>26.67781247917986</c:v>
                </c:pt>
                <c:pt idx="122" formatCode="0">
                  <c:v>26.332075504843729</c:v>
                </c:pt>
                <c:pt idx="123" formatCode="0">
                  <c:v>26.173223381500097</c:v>
                </c:pt>
                <c:pt idx="124" formatCode="0">
                  <c:v>26.313387019744479</c:v>
                </c:pt>
                <c:pt idx="125" formatCode="0">
                  <c:v>26.80863187487461</c:v>
                </c:pt>
                <c:pt idx="126" formatCode="0">
                  <c:v>27.686990674539377</c:v>
                </c:pt>
                <c:pt idx="127" formatCode="0">
                  <c:v>28.228956742417637</c:v>
                </c:pt>
                <c:pt idx="128" formatCode="0">
                  <c:v>28.630759172051523</c:v>
                </c:pt>
                <c:pt idx="129" formatCode="0">
                  <c:v>29.069938571883903</c:v>
                </c:pt>
                <c:pt idx="130" formatCode="0">
                  <c:v>29.667970095059914</c:v>
                </c:pt>
                <c:pt idx="131" formatCode="0">
                  <c:v>30.368788286281802</c:v>
                </c:pt>
                <c:pt idx="132" formatCode="0">
                  <c:v>31.097639205152564</c:v>
                </c:pt>
                <c:pt idx="133" formatCode="0">
                  <c:v>31.761080426175951</c:v>
                </c:pt>
                <c:pt idx="134" formatCode="0">
                  <c:v>32.340423464252709</c:v>
                </c:pt>
                <c:pt idx="135" formatCode="0">
                  <c:v>32.947799229978344</c:v>
                </c:pt>
                <c:pt idx="136" formatCode="0">
                  <c:v>33.639273178650612</c:v>
                </c:pt>
                <c:pt idx="137" formatCode="0">
                  <c:v>34.396156825170252</c:v>
                </c:pt>
                <c:pt idx="138" formatCode="0">
                  <c:v>35.134351986590637</c:v>
                </c:pt>
                <c:pt idx="139" formatCode="0">
                  <c:v>35.844514420362152</c:v>
                </c:pt>
                <c:pt idx="140" formatCode="0">
                  <c:v>36.545332611584037</c:v>
                </c:pt>
                <c:pt idx="141" formatCode="0">
                  <c:v>37.255495045355552</c:v>
                </c:pt>
                <c:pt idx="142" formatCode="0">
                  <c:v>38.021722934424815</c:v>
                </c:pt>
                <c:pt idx="143" formatCode="0">
                  <c:v>38.815983551142956</c:v>
                </c:pt>
                <c:pt idx="144" formatCode="0">
                  <c:v>39.610244167861097</c:v>
                </c:pt>
                <c:pt idx="145" formatCode="0">
                  <c:v>40.395160542029608</c:v>
                </c:pt>
                <c:pt idx="146" formatCode="0">
                  <c:v>41.189421158747749</c:v>
                </c:pt>
                <c:pt idx="147" formatCode="0">
                  <c:v>42.011714503114767</c:v>
                </c:pt>
                <c:pt idx="148" formatCode="0">
                  <c:v>42.862040575130649</c:v>
                </c:pt>
                <c:pt idx="149" formatCode="0">
                  <c:v>43.731055132245793</c:v>
                </c:pt>
                <c:pt idx="150" formatCode="0">
                  <c:v>44.590725446811305</c:v>
                </c:pt>
                <c:pt idx="151" formatCode="0">
                  <c:v>45.469084246476079</c:v>
                </c:pt>
                <c:pt idx="152" formatCode="0">
                  <c:v>46.366131531240093</c:v>
                </c:pt>
                <c:pt idx="153" formatCode="0">
                  <c:v>47.281867301103361</c:v>
                </c:pt>
                <c:pt idx="154" formatCode="0">
                  <c:v>48.216291556065876</c:v>
                </c:pt>
                <c:pt idx="155" formatCode="0">
                  <c:v>49.178748538677269</c:v>
                </c:pt>
                <c:pt idx="156" formatCode="0">
                  <c:v>50.141205521288661</c:v>
                </c:pt>
                <c:pt idx="157" formatCode="0">
                  <c:v>51.131695231548932</c:v>
                </c:pt>
                <c:pt idx="158" formatCode="0">
                  <c:v>52.122184941809195</c:v>
                </c:pt>
                <c:pt idx="159" formatCode="0">
                  <c:v>53.140707379718343</c:v>
                </c:pt>
                <c:pt idx="160" formatCode="0">
                  <c:v>54.177918302726731</c:v>
                </c:pt>
                <c:pt idx="161" formatCode="0">
                  <c:v>55.224473468284756</c:v>
                </c:pt>
                <c:pt idx="162" formatCode="0">
                  <c:v>56.289717118942022</c:v>
                </c:pt>
                <c:pt idx="163" formatCode="0">
                  <c:v>57.382993497248172</c:v>
                </c:pt>
                <c:pt idx="164" formatCode="0">
                  <c:v>58.485614118103932</c:v>
                </c:pt>
                <c:pt idx="165" formatCode="0">
                  <c:v>59.616267466608583</c:v>
                </c:pt>
                <c:pt idx="166" formatCode="0">
                  <c:v>60.765609300212482</c:v>
                </c:pt>
                <c:pt idx="167" formatCode="0">
                  <c:v>61.933639618915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14540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8</c:f>
              <c:numCache>
                <c:formatCode>m/d/yyyy</c:formatCode>
                <c:ptCount val="227"/>
                <c:pt idx="0">
                  <c:v>44266</c:v>
                </c:pt>
                <c:pt idx="1">
                  <c:v>44267</c:v>
                </c:pt>
                <c:pt idx="2">
                  <c:v>44268</c:v>
                </c:pt>
                <c:pt idx="3">
                  <c:v>44269</c:v>
                </c:pt>
                <c:pt idx="4">
                  <c:v>44270</c:v>
                </c:pt>
                <c:pt idx="5">
                  <c:v>44271</c:v>
                </c:pt>
                <c:pt idx="6">
                  <c:v>44272</c:v>
                </c:pt>
                <c:pt idx="7">
                  <c:v>44273</c:v>
                </c:pt>
                <c:pt idx="8">
                  <c:v>44274</c:v>
                </c:pt>
                <c:pt idx="9">
                  <c:v>44275</c:v>
                </c:pt>
                <c:pt idx="10">
                  <c:v>44276</c:v>
                </c:pt>
                <c:pt idx="11">
                  <c:v>44277</c:v>
                </c:pt>
                <c:pt idx="12">
                  <c:v>44278</c:v>
                </c:pt>
                <c:pt idx="13">
                  <c:v>44279</c:v>
                </c:pt>
                <c:pt idx="14">
                  <c:v>44280</c:v>
                </c:pt>
                <c:pt idx="15">
                  <c:v>44281</c:v>
                </c:pt>
                <c:pt idx="16">
                  <c:v>44282</c:v>
                </c:pt>
                <c:pt idx="17">
                  <c:v>44283</c:v>
                </c:pt>
                <c:pt idx="18">
                  <c:v>44284</c:v>
                </c:pt>
                <c:pt idx="19">
                  <c:v>44285</c:v>
                </c:pt>
                <c:pt idx="20">
                  <c:v>44286</c:v>
                </c:pt>
                <c:pt idx="21">
                  <c:v>44287</c:v>
                </c:pt>
                <c:pt idx="22">
                  <c:v>44288</c:v>
                </c:pt>
                <c:pt idx="23">
                  <c:v>44289</c:v>
                </c:pt>
                <c:pt idx="24">
                  <c:v>44290</c:v>
                </c:pt>
                <c:pt idx="25">
                  <c:v>44291</c:v>
                </c:pt>
                <c:pt idx="26">
                  <c:v>44292</c:v>
                </c:pt>
                <c:pt idx="27">
                  <c:v>44293</c:v>
                </c:pt>
                <c:pt idx="28">
                  <c:v>44294</c:v>
                </c:pt>
                <c:pt idx="29">
                  <c:v>44295</c:v>
                </c:pt>
                <c:pt idx="30">
                  <c:v>44296</c:v>
                </c:pt>
                <c:pt idx="31">
                  <c:v>44297</c:v>
                </c:pt>
                <c:pt idx="32">
                  <c:v>44298</c:v>
                </c:pt>
                <c:pt idx="33">
                  <c:v>44299</c:v>
                </c:pt>
                <c:pt idx="34">
                  <c:v>44300</c:v>
                </c:pt>
                <c:pt idx="35">
                  <c:v>44301</c:v>
                </c:pt>
                <c:pt idx="36">
                  <c:v>44302</c:v>
                </c:pt>
                <c:pt idx="37">
                  <c:v>44303</c:v>
                </c:pt>
                <c:pt idx="38">
                  <c:v>44304</c:v>
                </c:pt>
                <c:pt idx="39">
                  <c:v>44305</c:v>
                </c:pt>
                <c:pt idx="40">
                  <c:v>44306</c:v>
                </c:pt>
                <c:pt idx="41">
                  <c:v>44307</c:v>
                </c:pt>
                <c:pt idx="42">
                  <c:v>44308</c:v>
                </c:pt>
                <c:pt idx="43">
                  <c:v>44309</c:v>
                </c:pt>
                <c:pt idx="44">
                  <c:v>44310</c:v>
                </c:pt>
                <c:pt idx="45">
                  <c:v>44311</c:v>
                </c:pt>
                <c:pt idx="46">
                  <c:v>44312</c:v>
                </c:pt>
                <c:pt idx="47">
                  <c:v>44313</c:v>
                </c:pt>
                <c:pt idx="48">
                  <c:v>44314</c:v>
                </c:pt>
                <c:pt idx="49">
                  <c:v>44315</c:v>
                </c:pt>
                <c:pt idx="50">
                  <c:v>44316</c:v>
                </c:pt>
                <c:pt idx="51">
                  <c:v>44317</c:v>
                </c:pt>
                <c:pt idx="52">
                  <c:v>44318</c:v>
                </c:pt>
                <c:pt idx="53">
                  <c:v>44319</c:v>
                </c:pt>
                <c:pt idx="54">
                  <c:v>44320</c:v>
                </c:pt>
                <c:pt idx="55">
                  <c:v>44321</c:v>
                </c:pt>
                <c:pt idx="56">
                  <c:v>44322</c:v>
                </c:pt>
                <c:pt idx="57">
                  <c:v>44323</c:v>
                </c:pt>
                <c:pt idx="58">
                  <c:v>44324</c:v>
                </c:pt>
                <c:pt idx="59">
                  <c:v>44325</c:v>
                </c:pt>
                <c:pt idx="60">
                  <c:v>44326</c:v>
                </c:pt>
                <c:pt idx="61">
                  <c:v>44327</c:v>
                </c:pt>
                <c:pt idx="62">
                  <c:v>44328</c:v>
                </c:pt>
                <c:pt idx="63">
                  <c:v>44329</c:v>
                </c:pt>
                <c:pt idx="64">
                  <c:v>44330</c:v>
                </c:pt>
                <c:pt idx="65">
                  <c:v>44331</c:v>
                </c:pt>
                <c:pt idx="66">
                  <c:v>44332</c:v>
                </c:pt>
                <c:pt idx="67">
                  <c:v>44333</c:v>
                </c:pt>
                <c:pt idx="68">
                  <c:v>44334</c:v>
                </c:pt>
                <c:pt idx="69">
                  <c:v>44335</c:v>
                </c:pt>
                <c:pt idx="70">
                  <c:v>44336</c:v>
                </c:pt>
                <c:pt idx="71">
                  <c:v>44337</c:v>
                </c:pt>
                <c:pt idx="72">
                  <c:v>44338</c:v>
                </c:pt>
                <c:pt idx="73">
                  <c:v>44339</c:v>
                </c:pt>
                <c:pt idx="74">
                  <c:v>44340</c:v>
                </c:pt>
                <c:pt idx="75">
                  <c:v>44341</c:v>
                </c:pt>
                <c:pt idx="76">
                  <c:v>44342</c:v>
                </c:pt>
                <c:pt idx="77">
                  <c:v>44343</c:v>
                </c:pt>
                <c:pt idx="78">
                  <c:v>44344</c:v>
                </c:pt>
                <c:pt idx="79">
                  <c:v>44345</c:v>
                </c:pt>
                <c:pt idx="80">
                  <c:v>44346</c:v>
                </c:pt>
                <c:pt idx="81">
                  <c:v>44347</c:v>
                </c:pt>
                <c:pt idx="82">
                  <c:v>44348</c:v>
                </c:pt>
                <c:pt idx="83">
                  <c:v>44349</c:v>
                </c:pt>
                <c:pt idx="84">
                  <c:v>44350</c:v>
                </c:pt>
                <c:pt idx="85">
                  <c:v>44351</c:v>
                </c:pt>
                <c:pt idx="86">
                  <c:v>44352</c:v>
                </c:pt>
                <c:pt idx="87">
                  <c:v>44353</c:v>
                </c:pt>
                <c:pt idx="88">
                  <c:v>44354</c:v>
                </c:pt>
                <c:pt idx="89">
                  <c:v>44355</c:v>
                </c:pt>
                <c:pt idx="90">
                  <c:v>44356</c:v>
                </c:pt>
                <c:pt idx="91">
                  <c:v>44357</c:v>
                </c:pt>
                <c:pt idx="92">
                  <c:v>44358</c:v>
                </c:pt>
                <c:pt idx="93">
                  <c:v>44359</c:v>
                </c:pt>
                <c:pt idx="94">
                  <c:v>44360</c:v>
                </c:pt>
                <c:pt idx="95">
                  <c:v>44361</c:v>
                </c:pt>
                <c:pt idx="96">
                  <c:v>44362</c:v>
                </c:pt>
                <c:pt idx="97">
                  <c:v>44363</c:v>
                </c:pt>
                <c:pt idx="98">
                  <c:v>44364</c:v>
                </c:pt>
                <c:pt idx="99">
                  <c:v>44365</c:v>
                </c:pt>
                <c:pt idx="100">
                  <c:v>44366</c:v>
                </c:pt>
                <c:pt idx="101">
                  <c:v>44367</c:v>
                </c:pt>
                <c:pt idx="102">
                  <c:v>44368</c:v>
                </c:pt>
                <c:pt idx="103">
                  <c:v>44369</c:v>
                </c:pt>
                <c:pt idx="104">
                  <c:v>44370</c:v>
                </c:pt>
                <c:pt idx="105">
                  <c:v>44371</c:v>
                </c:pt>
                <c:pt idx="106">
                  <c:v>44372</c:v>
                </c:pt>
                <c:pt idx="107">
                  <c:v>44373</c:v>
                </c:pt>
                <c:pt idx="108">
                  <c:v>44374</c:v>
                </c:pt>
                <c:pt idx="109">
                  <c:v>44375</c:v>
                </c:pt>
                <c:pt idx="110">
                  <c:v>44376</c:v>
                </c:pt>
                <c:pt idx="111">
                  <c:v>44377</c:v>
                </c:pt>
                <c:pt idx="112">
                  <c:v>44378</c:v>
                </c:pt>
                <c:pt idx="113">
                  <c:v>44379</c:v>
                </c:pt>
                <c:pt idx="114">
                  <c:v>44380</c:v>
                </c:pt>
                <c:pt idx="115">
                  <c:v>44381</c:v>
                </c:pt>
              </c:numCache>
            </c:numRef>
          </c:cat>
          <c:val>
            <c:numRef>
              <c:f>Sheet1!$B$2:$B$228</c:f>
              <c:numCache>
                <c:formatCode>General</c:formatCode>
                <c:ptCount val="227"/>
                <c:pt idx="0">
                  <c:v>11247</c:v>
                </c:pt>
                <c:pt idx="1">
                  <c:v>14977</c:v>
                </c:pt>
                <c:pt idx="2">
                  <c:v>7031</c:v>
                </c:pt>
                <c:pt idx="3">
                  <c:v>3333</c:v>
                </c:pt>
                <c:pt idx="4">
                  <c:v>10631</c:v>
                </c:pt>
                <c:pt idx="5">
                  <c:v>14027</c:v>
                </c:pt>
                <c:pt idx="6">
                  <c:v>12029</c:v>
                </c:pt>
                <c:pt idx="7">
                  <c:v>10662</c:v>
                </c:pt>
                <c:pt idx="8">
                  <c:v>9715</c:v>
                </c:pt>
                <c:pt idx="9">
                  <c:v>5467</c:v>
                </c:pt>
                <c:pt idx="10">
                  <c:v>2391</c:v>
                </c:pt>
                <c:pt idx="11">
                  <c:v>8242</c:v>
                </c:pt>
                <c:pt idx="12">
                  <c:v>10970</c:v>
                </c:pt>
                <c:pt idx="13">
                  <c:v>8853</c:v>
                </c:pt>
                <c:pt idx="14">
                  <c:v>7930</c:v>
                </c:pt>
                <c:pt idx="15">
                  <c:v>7715</c:v>
                </c:pt>
                <c:pt idx="16">
                  <c:v>3970</c:v>
                </c:pt>
                <c:pt idx="17">
                  <c:v>1744</c:v>
                </c:pt>
                <c:pt idx="18">
                  <c:v>6937</c:v>
                </c:pt>
                <c:pt idx="19">
                  <c:v>8634</c:v>
                </c:pt>
                <c:pt idx="20">
                  <c:v>7267</c:v>
                </c:pt>
                <c:pt idx="21">
                  <c:v>6247</c:v>
                </c:pt>
                <c:pt idx="22">
                  <c:v>3836</c:v>
                </c:pt>
                <c:pt idx="23">
                  <c:v>2160</c:v>
                </c:pt>
                <c:pt idx="24">
                  <c:v>1926</c:v>
                </c:pt>
                <c:pt idx="25">
                  <c:v>1419</c:v>
                </c:pt>
                <c:pt idx="26">
                  <c:v>5587</c:v>
                </c:pt>
                <c:pt idx="27">
                  <c:v>7054</c:v>
                </c:pt>
                <c:pt idx="28">
                  <c:v>5283</c:v>
                </c:pt>
                <c:pt idx="29">
                  <c:v>4821</c:v>
                </c:pt>
                <c:pt idx="30">
                  <c:v>2207</c:v>
                </c:pt>
                <c:pt idx="31">
                  <c:v>985</c:v>
                </c:pt>
                <c:pt idx="32">
                  <c:v>3867</c:v>
                </c:pt>
                <c:pt idx="33">
                  <c:v>5055</c:v>
                </c:pt>
                <c:pt idx="34">
                  <c:v>3716</c:v>
                </c:pt>
                <c:pt idx="35">
                  <c:v>3264</c:v>
                </c:pt>
                <c:pt idx="36">
                  <c:v>3218</c:v>
                </c:pt>
                <c:pt idx="37">
                  <c:v>1541</c:v>
                </c:pt>
                <c:pt idx="38">
                  <c:v>833</c:v>
                </c:pt>
                <c:pt idx="39">
                  <c:v>3342</c:v>
                </c:pt>
                <c:pt idx="40">
                  <c:v>3817</c:v>
                </c:pt>
                <c:pt idx="41">
                  <c:v>2951</c:v>
                </c:pt>
                <c:pt idx="42">
                  <c:v>2629</c:v>
                </c:pt>
                <c:pt idx="43">
                  <c:v>2601</c:v>
                </c:pt>
                <c:pt idx="44">
                  <c:v>1308</c:v>
                </c:pt>
                <c:pt idx="45">
                  <c:v>825</c:v>
                </c:pt>
                <c:pt idx="46">
                  <c:v>2580</c:v>
                </c:pt>
                <c:pt idx="47">
                  <c:v>3239</c:v>
                </c:pt>
                <c:pt idx="48">
                  <c:v>2488</c:v>
                </c:pt>
                <c:pt idx="49">
                  <c:v>2229</c:v>
                </c:pt>
                <c:pt idx="50">
                  <c:v>2167</c:v>
                </c:pt>
                <c:pt idx="51">
                  <c:v>1171</c:v>
                </c:pt>
                <c:pt idx="52">
                  <c:v>508</c:v>
                </c:pt>
                <c:pt idx="53">
                  <c:v>2219</c:v>
                </c:pt>
                <c:pt idx="54">
                  <c:v>2415</c:v>
                </c:pt>
                <c:pt idx="55">
                  <c:v>1873</c:v>
                </c:pt>
                <c:pt idx="56">
                  <c:v>1572</c:v>
                </c:pt>
                <c:pt idx="57">
                  <c:v>1638</c:v>
                </c:pt>
                <c:pt idx="58">
                  <c:v>725</c:v>
                </c:pt>
                <c:pt idx="59">
                  <c:v>384</c:v>
                </c:pt>
                <c:pt idx="60">
                  <c:v>1545</c:v>
                </c:pt>
                <c:pt idx="61">
                  <c:v>1690</c:v>
                </c:pt>
                <c:pt idx="62">
                  <c:v>1264</c:v>
                </c:pt>
                <c:pt idx="63">
                  <c:v>1223</c:v>
                </c:pt>
                <c:pt idx="64">
                  <c:v>1051</c:v>
                </c:pt>
                <c:pt idx="65">
                  <c:v>597</c:v>
                </c:pt>
                <c:pt idx="66">
                  <c:v>257</c:v>
                </c:pt>
                <c:pt idx="67">
                  <c:v>1130</c:v>
                </c:pt>
                <c:pt idx="68">
                  <c:v>1199</c:v>
                </c:pt>
                <c:pt idx="69">
                  <c:v>778</c:v>
                </c:pt>
                <c:pt idx="70">
                  <c:v>677</c:v>
                </c:pt>
                <c:pt idx="71">
                  <c:v>671</c:v>
                </c:pt>
                <c:pt idx="72">
                  <c:v>334</c:v>
                </c:pt>
                <c:pt idx="73">
                  <c:v>197</c:v>
                </c:pt>
                <c:pt idx="74">
                  <c:v>697</c:v>
                </c:pt>
                <c:pt idx="75">
                  <c:v>661</c:v>
                </c:pt>
                <c:pt idx="76">
                  <c:v>538</c:v>
                </c:pt>
                <c:pt idx="77">
                  <c:v>506</c:v>
                </c:pt>
                <c:pt idx="78">
                  <c:v>453</c:v>
                </c:pt>
                <c:pt idx="79">
                  <c:v>222</c:v>
                </c:pt>
                <c:pt idx="80">
                  <c:v>112</c:v>
                </c:pt>
                <c:pt idx="81">
                  <c:v>512</c:v>
                </c:pt>
                <c:pt idx="82">
                  <c:v>479</c:v>
                </c:pt>
                <c:pt idx="83">
                  <c:v>351</c:v>
                </c:pt>
                <c:pt idx="84">
                  <c:v>423</c:v>
                </c:pt>
                <c:pt idx="85">
                  <c:v>319</c:v>
                </c:pt>
                <c:pt idx="86">
                  <c:v>152</c:v>
                </c:pt>
                <c:pt idx="87">
                  <c:v>97</c:v>
                </c:pt>
                <c:pt idx="88">
                  <c:v>294</c:v>
                </c:pt>
                <c:pt idx="89">
                  <c:v>386</c:v>
                </c:pt>
                <c:pt idx="90">
                  <c:v>250</c:v>
                </c:pt>
                <c:pt idx="91">
                  <c:v>190</c:v>
                </c:pt>
                <c:pt idx="92">
                  <c:v>179</c:v>
                </c:pt>
                <c:pt idx="93">
                  <c:v>73</c:v>
                </c:pt>
                <c:pt idx="94">
                  <c:v>41</c:v>
                </c:pt>
                <c:pt idx="95">
                  <c:v>175</c:v>
                </c:pt>
                <c:pt idx="96">
                  <c:v>206</c:v>
                </c:pt>
                <c:pt idx="97">
                  <c:v>128</c:v>
                </c:pt>
                <c:pt idx="98">
                  <c:v>157</c:v>
                </c:pt>
                <c:pt idx="99">
                  <c:v>142</c:v>
                </c:pt>
                <c:pt idx="100">
                  <c:v>63</c:v>
                </c:pt>
                <c:pt idx="101">
                  <c:v>57</c:v>
                </c:pt>
                <c:pt idx="102">
                  <c:v>118</c:v>
                </c:pt>
                <c:pt idx="103">
                  <c:v>112</c:v>
                </c:pt>
                <c:pt idx="104">
                  <c:v>105</c:v>
                </c:pt>
                <c:pt idx="105">
                  <c:v>96</c:v>
                </c:pt>
                <c:pt idx="106">
                  <c:v>132</c:v>
                </c:pt>
                <c:pt idx="107">
                  <c:v>67</c:v>
                </c:pt>
                <c:pt idx="108">
                  <c:v>56</c:v>
                </c:pt>
                <c:pt idx="109">
                  <c:v>148</c:v>
                </c:pt>
                <c:pt idx="110">
                  <c:v>156</c:v>
                </c:pt>
                <c:pt idx="111">
                  <c:v>136</c:v>
                </c:pt>
                <c:pt idx="112">
                  <c:v>166</c:v>
                </c:pt>
                <c:pt idx="113">
                  <c:v>163</c:v>
                </c:pt>
                <c:pt idx="114">
                  <c:v>124</c:v>
                </c:pt>
                <c:pt idx="115">
                  <c:v>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49-4E86-80B1-CE67BE4EDC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8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2.5682402275193011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-34 let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7.03 - 13.03</c:v>
                </c:pt>
                <c:pt idx="1">
                  <c:v>14.03 - 20.03</c:v>
                </c:pt>
                <c:pt idx="2">
                  <c:v>21.03 - 27.03</c:v>
                </c:pt>
                <c:pt idx="3">
                  <c:v>28.03 - 03.04</c:v>
                </c:pt>
                <c:pt idx="4">
                  <c:v>04.04 - 10.04</c:v>
                </c:pt>
                <c:pt idx="5">
                  <c:v>11.04 - 17.04</c:v>
                </c:pt>
                <c:pt idx="6">
                  <c:v>18.04 - 24.04</c:v>
                </c:pt>
                <c:pt idx="7">
                  <c:v>25.04 - 01.05</c:v>
                </c:pt>
                <c:pt idx="8">
                  <c:v>02.05 - 08.05</c:v>
                </c:pt>
                <c:pt idx="9">
                  <c:v>09.05 - 15.05</c:v>
                </c:pt>
                <c:pt idx="10">
                  <c:v>16.05 - 22.05</c:v>
                </c:pt>
                <c:pt idx="11">
                  <c:v>23.05 - 29.05</c:v>
                </c:pt>
                <c:pt idx="12">
                  <c:v>30.05 - 05.06</c:v>
                </c:pt>
                <c:pt idx="13">
                  <c:v>06.06 - 12.06</c:v>
                </c:pt>
                <c:pt idx="14">
                  <c:v>13.06 - 19.06</c:v>
                </c:pt>
                <c:pt idx="15">
                  <c:v>20.06 - 26.06</c:v>
                </c:pt>
                <c:pt idx="16">
                  <c:v>27.06 - 03.07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818.25713540686695</c:v>
                </c:pt>
                <c:pt idx="1">
                  <c:v>692.88346244786101</c:v>
                </c:pt>
                <c:pt idx="2">
                  <c:v>535.49246712723095</c:v>
                </c:pt>
                <c:pt idx="3">
                  <c:v>397.19083754454601</c:v>
                </c:pt>
                <c:pt idx="4">
                  <c:v>305.31982664435299</c:v>
                </c:pt>
                <c:pt idx="5">
                  <c:v>219.83027518393399</c:v>
                </c:pt>
                <c:pt idx="6">
                  <c:v>183.13688340523399</c:v>
                </c:pt>
                <c:pt idx="7">
                  <c:v>150.73447297396899</c:v>
                </c:pt>
                <c:pt idx="8">
                  <c:v>111.455489870533</c:v>
                </c:pt>
                <c:pt idx="9">
                  <c:v>82.518872066040998</c:v>
                </c:pt>
                <c:pt idx="10">
                  <c:v>52.096914564359999</c:v>
                </c:pt>
                <c:pt idx="11">
                  <c:v>34.052787872586002</c:v>
                </c:pt>
                <c:pt idx="12">
                  <c:v>27.231227781792999</c:v>
                </c:pt>
                <c:pt idx="13">
                  <c:v>17.494000878000001</c:v>
                </c:pt>
                <c:pt idx="14">
                  <c:v>14.413296320868</c:v>
                </c:pt>
                <c:pt idx="15">
                  <c:v>12.817931460924999</c:v>
                </c:pt>
                <c:pt idx="16">
                  <c:v>21.839994806812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35-49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7.03 - 13.03</c:v>
                </c:pt>
                <c:pt idx="1">
                  <c:v>14.03 - 20.03</c:v>
                </c:pt>
                <c:pt idx="2">
                  <c:v>21.03 - 27.03</c:v>
                </c:pt>
                <c:pt idx="3">
                  <c:v>28.03 - 03.04</c:v>
                </c:pt>
                <c:pt idx="4">
                  <c:v>04.04 - 10.04</c:v>
                </c:pt>
                <c:pt idx="5">
                  <c:v>11.04 - 17.04</c:v>
                </c:pt>
                <c:pt idx="6">
                  <c:v>18.04 - 24.04</c:v>
                </c:pt>
                <c:pt idx="7">
                  <c:v>25.04 - 01.05</c:v>
                </c:pt>
                <c:pt idx="8">
                  <c:v>02.05 - 08.05</c:v>
                </c:pt>
                <c:pt idx="9">
                  <c:v>09.05 - 15.05</c:v>
                </c:pt>
                <c:pt idx="10">
                  <c:v>16.05 - 22.05</c:v>
                </c:pt>
                <c:pt idx="11">
                  <c:v>23.05 - 29.05</c:v>
                </c:pt>
                <c:pt idx="12">
                  <c:v>30.05 - 05.06</c:v>
                </c:pt>
                <c:pt idx="13">
                  <c:v>06.06 - 12.06</c:v>
                </c:pt>
                <c:pt idx="14">
                  <c:v>13.06 - 19.06</c:v>
                </c:pt>
                <c:pt idx="15">
                  <c:v>20.06 - 26.06</c:v>
                </c:pt>
                <c:pt idx="16">
                  <c:v>27.06 - 03.07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865.56432287146504</c:v>
                </c:pt>
                <c:pt idx="1">
                  <c:v>712.86884438939001</c:v>
                </c:pt>
                <c:pt idx="2">
                  <c:v>522.21695489157298</c:v>
                </c:pt>
                <c:pt idx="3">
                  <c:v>382.56899269615798</c:v>
                </c:pt>
                <c:pt idx="4">
                  <c:v>294.00403365942799</c:v>
                </c:pt>
                <c:pt idx="5">
                  <c:v>222.75668714863099</c:v>
                </c:pt>
                <c:pt idx="6">
                  <c:v>184.80027613288999</c:v>
                </c:pt>
                <c:pt idx="7">
                  <c:v>156.728347152498</c:v>
                </c:pt>
                <c:pt idx="8">
                  <c:v>114.225074400496</c:v>
                </c:pt>
                <c:pt idx="9">
                  <c:v>86.074069563820998</c:v>
                </c:pt>
                <c:pt idx="10">
                  <c:v>52.783134068765001</c:v>
                </c:pt>
                <c:pt idx="11">
                  <c:v>35.544597399116</c:v>
                </c:pt>
                <c:pt idx="12">
                  <c:v>24.829818872796999</c:v>
                </c:pt>
                <c:pt idx="13">
                  <c:v>15.103488550012999</c:v>
                </c:pt>
                <c:pt idx="14">
                  <c:v>8.184351125269</c:v>
                </c:pt>
                <c:pt idx="15">
                  <c:v>6.1283788619159996</c:v>
                </c:pt>
                <c:pt idx="16">
                  <c:v>7.235440849875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50-64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7.03 - 13.03</c:v>
                </c:pt>
                <c:pt idx="1">
                  <c:v>14.03 - 20.03</c:v>
                </c:pt>
                <c:pt idx="2">
                  <c:v>21.03 - 27.03</c:v>
                </c:pt>
                <c:pt idx="3">
                  <c:v>28.03 - 03.04</c:v>
                </c:pt>
                <c:pt idx="4">
                  <c:v>04.04 - 10.04</c:v>
                </c:pt>
                <c:pt idx="5">
                  <c:v>11.04 - 17.04</c:v>
                </c:pt>
                <c:pt idx="6">
                  <c:v>18.04 - 24.04</c:v>
                </c:pt>
                <c:pt idx="7">
                  <c:v>25.04 - 01.05</c:v>
                </c:pt>
                <c:pt idx="8">
                  <c:v>02.05 - 08.05</c:v>
                </c:pt>
                <c:pt idx="9">
                  <c:v>09.05 - 15.05</c:v>
                </c:pt>
                <c:pt idx="10">
                  <c:v>16.05 - 22.05</c:v>
                </c:pt>
                <c:pt idx="11">
                  <c:v>23.05 - 29.05</c:v>
                </c:pt>
                <c:pt idx="12">
                  <c:v>30.05 - 05.06</c:v>
                </c:pt>
                <c:pt idx="13">
                  <c:v>06.06 - 12.06</c:v>
                </c:pt>
                <c:pt idx="14">
                  <c:v>13.06 - 19.06</c:v>
                </c:pt>
                <c:pt idx="15">
                  <c:v>20.06 - 26.06</c:v>
                </c:pt>
                <c:pt idx="16">
                  <c:v>27.06 - 03.07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873.18964436552506</c:v>
                </c:pt>
                <c:pt idx="1">
                  <c:v>741.53657010261804</c:v>
                </c:pt>
                <c:pt idx="2">
                  <c:v>559.991260048301</c:v>
                </c:pt>
                <c:pt idx="3">
                  <c:v>405.53174500486</c:v>
                </c:pt>
                <c:pt idx="4">
                  <c:v>320.54880452463601</c:v>
                </c:pt>
                <c:pt idx="5">
                  <c:v>221.62020378788199</c:v>
                </c:pt>
                <c:pt idx="6">
                  <c:v>184.314303968068</c:v>
                </c:pt>
                <c:pt idx="7">
                  <c:v>153.04984541462099</c:v>
                </c:pt>
                <c:pt idx="8">
                  <c:v>113.176333056601</c:v>
                </c:pt>
                <c:pt idx="9">
                  <c:v>76.273195987877997</c:v>
                </c:pt>
                <c:pt idx="10">
                  <c:v>47.274277909318002</c:v>
                </c:pt>
                <c:pt idx="11">
                  <c:v>25.474744006512001</c:v>
                </c:pt>
                <c:pt idx="12">
                  <c:v>15.959474011985</c:v>
                </c:pt>
                <c:pt idx="13">
                  <c:v>10.119414121164001</c:v>
                </c:pt>
                <c:pt idx="14">
                  <c:v>6.0414412663660002</c:v>
                </c:pt>
                <c:pt idx="15">
                  <c:v>3.6248647598189998</c:v>
                </c:pt>
                <c:pt idx="16">
                  <c:v>3.524174072046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65-74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7.03 - 13.03</c:v>
                </c:pt>
                <c:pt idx="1">
                  <c:v>14.03 - 20.03</c:v>
                </c:pt>
                <c:pt idx="2">
                  <c:v>21.03 - 27.03</c:v>
                </c:pt>
                <c:pt idx="3">
                  <c:v>28.03 - 03.04</c:v>
                </c:pt>
                <c:pt idx="4">
                  <c:v>04.04 - 10.04</c:v>
                </c:pt>
                <c:pt idx="5">
                  <c:v>11.04 - 17.04</c:v>
                </c:pt>
                <c:pt idx="6">
                  <c:v>18.04 - 24.04</c:v>
                </c:pt>
                <c:pt idx="7">
                  <c:v>25.04 - 01.05</c:v>
                </c:pt>
                <c:pt idx="8">
                  <c:v>02.05 - 08.05</c:v>
                </c:pt>
                <c:pt idx="9">
                  <c:v>09.05 - 15.05</c:v>
                </c:pt>
                <c:pt idx="10">
                  <c:v>16.05 - 22.05</c:v>
                </c:pt>
                <c:pt idx="11">
                  <c:v>23.05 - 29.05</c:v>
                </c:pt>
                <c:pt idx="12">
                  <c:v>30.05 - 05.06</c:v>
                </c:pt>
                <c:pt idx="13">
                  <c:v>06.06 - 12.06</c:v>
                </c:pt>
                <c:pt idx="14">
                  <c:v>13.06 - 19.06</c:v>
                </c:pt>
                <c:pt idx="15">
                  <c:v>20.06 - 26.06</c:v>
                </c:pt>
                <c:pt idx="16">
                  <c:v>27.06 - 03.07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526.59449054765901</c:v>
                </c:pt>
                <c:pt idx="1">
                  <c:v>468.461922008047</c:v>
                </c:pt>
                <c:pt idx="2">
                  <c:v>367.19375074888097</c:v>
                </c:pt>
                <c:pt idx="3">
                  <c:v>283.39627163060999</c:v>
                </c:pt>
                <c:pt idx="4">
                  <c:v>208.95257016299499</c:v>
                </c:pt>
                <c:pt idx="5">
                  <c:v>156.61779768783799</c:v>
                </c:pt>
                <c:pt idx="6">
                  <c:v>120.362246298107</c:v>
                </c:pt>
                <c:pt idx="7">
                  <c:v>99.644788361116994</c:v>
                </c:pt>
                <c:pt idx="8">
                  <c:v>74.830221205244996</c:v>
                </c:pt>
                <c:pt idx="9">
                  <c:v>48.160359308747999</c:v>
                </c:pt>
                <c:pt idx="10">
                  <c:v>25.664910578657999</c:v>
                </c:pt>
                <c:pt idx="11">
                  <c:v>15.924613190372</c:v>
                </c:pt>
                <c:pt idx="12">
                  <c:v>9.8176013358120002</c:v>
                </c:pt>
                <c:pt idx="13">
                  <c:v>4.7928447466159998</c:v>
                </c:pt>
                <c:pt idx="14">
                  <c:v>2.8602460584639999</c:v>
                </c:pt>
                <c:pt idx="15">
                  <c:v>2.0099026356779999</c:v>
                </c:pt>
                <c:pt idx="16">
                  <c:v>1.2368631604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75+ let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7.03 - 13.03</c:v>
                </c:pt>
                <c:pt idx="1">
                  <c:v>14.03 - 20.03</c:v>
                </c:pt>
                <c:pt idx="2">
                  <c:v>21.03 - 27.03</c:v>
                </c:pt>
                <c:pt idx="3">
                  <c:v>28.03 - 03.04</c:v>
                </c:pt>
                <c:pt idx="4">
                  <c:v>04.04 - 10.04</c:v>
                </c:pt>
                <c:pt idx="5">
                  <c:v>11.04 - 17.04</c:v>
                </c:pt>
                <c:pt idx="6">
                  <c:v>18.04 - 24.04</c:v>
                </c:pt>
                <c:pt idx="7">
                  <c:v>25.04 - 01.05</c:v>
                </c:pt>
                <c:pt idx="8">
                  <c:v>02.05 - 08.05</c:v>
                </c:pt>
                <c:pt idx="9">
                  <c:v>09.05 - 15.05</c:v>
                </c:pt>
                <c:pt idx="10">
                  <c:v>16.05 - 22.05</c:v>
                </c:pt>
                <c:pt idx="11">
                  <c:v>23.05 - 29.05</c:v>
                </c:pt>
                <c:pt idx="12">
                  <c:v>30.05 - 05.06</c:v>
                </c:pt>
                <c:pt idx="13">
                  <c:v>06.06 - 12.06</c:v>
                </c:pt>
                <c:pt idx="14">
                  <c:v>13.06 - 19.06</c:v>
                </c:pt>
                <c:pt idx="15">
                  <c:v>20.06 - 26.06</c:v>
                </c:pt>
                <c:pt idx="16">
                  <c:v>27.06 - 03.07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491.02202197919098</c:v>
                </c:pt>
                <c:pt idx="1">
                  <c:v>439.44505028754702</c:v>
                </c:pt>
                <c:pt idx="2">
                  <c:v>340.80120084142101</c:v>
                </c:pt>
                <c:pt idx="3">
                  <c:v>252.10268674390801</c:v>
                </c:pt>
                <c:pt idx="4">
                  <c:v>181.675835263614</c:v>
                </c:pt>
                <c:pt idx="5">
                  <c:v>144.66993629203199</c:v>
                </c:pt>
                <c:pt idx="6">
                  <c:v>98.181275708979996</c:v>
                </c:pt>
                <c:pt idx="7">
                  <c:v>80.140899960333996</c:v>
                </c:pt>
                <c:pt idx="8">
                  <c:v>54.468057548798001</c:v>
                </c:pt>
                <c:pt idx="9">
                  <c:v>37.121542405869</c:v>
                </c:pt>
                <c:pt idx="10">
                  <c:v>28.216997965830998</c:v>
                </c:pt>
                <c:pt idx="11">
                  <c:v>16.768297971498001</c:v>
                </c:pt>
                <c:pt idx="12">
                  <c:v>10.407909085757</c:v>
                </c:pt>
                <c:pt idx="13">
                  <c:v>5.5508848457370004</c:v>
                </c:pt>
                <c:pt idx="14">
                  <c:v>6.2447454514540004</c:v>
                </c:pt>
                <c:pt idx="15">
                  <c:v>2.6597989885820001</c:v>
                </c:pt>
                <c:pt idx="16">
                  <c:v>1.965938382864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7.03 - 13.03</c:v>
                </c:pt>
                <c:pt idx="1">
                  <c:v>14.03 - 20.03</c:v>
                </c:pt>
                <c:pt idx="2">
                  <c:v>21.03 - 27.03</c:v>
                </c:pt>
                <c:pt idx="3">
                  <c:v>28.03 - 03.04</c:v>
                </c:pt>
                <c:pt idx="4">
                  <c:v>04.04 - 10.04</c:v>
                </c:pt>
                <c:pt idx="5">
                  <c:v>11.04 - 17.04</c:v>
                </c:pt>
                <c:pt idx="6">
                  <c:v>18.04 - 24.04</c:v>
                </c:pt>
                <c:pt idx="7">
                  <c:v>25.04 - 01.05</c:v>
                </c:pt>
                <c:pt idx="8">
                  <c:v>02.05 - 08.05</c:v>
                </c:pt>
                <c:pt idx="9">
                  <c:v>09.05 - 15.05</c:v>
                </c:pt>
                <c:pt idx="10">
                  <c:v>16.05 - 22.05</c:v>
                </c:pt>
                <c:pt idx="11">
                  <c:v>23.05 - 29.05</c:v>
                </c:pt>
                <c:pt idx="12">
                  <c:v>30.05 - 05.06</c:v>
                </c:pt>
                <c:pt idx="13">
                  <c:v>06.06 - 12.06</c:v>
                </c:pt>
                <c:pt idx="14">
                  <c:v>13.06 - 19.06</c:v>
                </c:pt>
                <c:pt idx="15">
                  <c:v>20.06 - 26.06</c:v>
                </c:pt>
                <c:pt idx="16">
                  <c:v>27.06 - 03.07</c:v>
                </c:pt>
              </c:strCache>
            </c:strRef>
          </c:cat>
          <c:val>
            <c:numRef>
              <c:f>List1!$B$7:$R$7</c:f>
              <c:numCache>
                <c:formatCode>General</c:formatCode>
                <c:ptCount val="17"/>
                <c:pt idx="0">
                  <c:v>726.860595207693</c:v>
                </c:pt>
                <c:pt idx="1">
                  <c:v>615.38378159066394</c:v>
                </c:pt>
                <c:pt idx="2">
                  <c:v>467.76343779168599</c:v>
                </c:pt>
                <c:pt idx="3">
                  <c:v>344.02697794954901</c:v>
                </c:pt>
                <c:pt idx="4">
                  <c:v>264.311244758697</c:v>
                </c:pt>
                <c:pt idx="5">
                  <c:v>202.25612998663601</c:v>
                </c:pt>
                <c:pt idx="6">
                  <c:v>163.32801552489801</c:v>
                </c:pt>
                <c:pt idx="7">
                  <c:v>137.33233275184099</c:v>
                </c:pt>
                <c:pt idx="8">
                  <c:v>102.31945591839499</c:v>
                </c:pt>
                <c:pt idx="9">
                  <c:v>72.436568244694001</c:v>
                </c:pt>
                <c:pt idx="10">
                  <c:v>47.123015177759001</c:v>
                </c:pt>
                <c:pt idx="11">
                  <c:v>30.565017379823001</c:v>
                </c:pt>
                <c:pt idx="12">
                  <c:v>21.921593021420001</c:v>
                </c:pt>
                <c:pt idx="13">
                  <c:v>13.726692305399</c:v>
                </c:pt>
                <c:pt idx="14">
                  <c:v>8.5219492052580001</c:v>
                </c:pt>
                <c:pt idx="15">
                  <c:v>6.4194946315920003</c:v>
                </c:pt>
                <c:pt idx="16">
                  <c:v>8.86768617959399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BB-4442-9D6E-7DAB86DA9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999220866411182E-2"/>
          <c:y val="2.3315360590843423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0–4 roky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7.03 - 13.03</c:v>
                </c:pt>
                <c:pt idx="1">
                  <c:v>14.03 - 20.03</c:v>
                </c:pt>
                <c:pt idx="2">
                  <c:v>21.03 - 27.03</c:v>
                </c:pt>
                <c:pt idx="3">
                  <c:v>28.03 - 03.04</c:v>
                </c:pt>
                <c:pt idx="4">
                  <c:v>04.04 - 10.04</c:v>
                </c:pt>
                <c:pt idx="5">
                  <c:v>11.04 - 17.04</c:v>
                </c:pt>
                <c:pt idx="6">
                  <c:v>18.04 - 24.04</c:v>
                </c:pt>
                <c:pt idx="7">
                  <c:v>25.04 - 01.05</c:v>
                </c:pt>
                <c:pt idx="8">
                  <c:v>02.05 - 08.05</c:v>
                </c:pt>
                <c:pt idx="9">
                  <c:v>09.05 - 15.05</c:v>
                </c:pt>
                <c:pt idx="10">
                  <c:v>16.05 - 22.05</c:v>
                </c:pt>
                <c:pt idx="11">
                  <c:v>23.05 - 29.05</c:v>
                </c:pt>
                <c:pt idx="12">
                  <c:v>30.05 - 05.06</c:v>
                </c:pt>
                <c:pt idx="13">
                  <c:v>06.06 - 12.06</c:v>
                </c:pt>
                <c:pt idx="14">
                  <c:v>13.06 - 19.06</c:v>
                </c:pt>
                <c:pt idx="15">
                  <c:v>20.06 - 26.06</c:v>
                </c:pt>
                <c:pt idx="16">
                  <c:v>27.06 - 03.07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380.423860579414</c:v>
                </c:pt>
                <c:pt idx="1">
                  <c:v>333.88451897007002</c:v>
                </c:pt>
                <c:pt idx="2">
                  <c:v>276.59176888280899</c:v>
                </c:pt>
                <c:pt idx="3">
                  <c:v>198.497343379249</c:v>
                </c:pt>
                <c:pt idx="4">
                  <c:v>152.13428715478901</c:v>
                </c:pt>
                <c:pt idx="5">
                  <c:v>138.73659790361401</c:v>
                </c:pt>
                <c:pt idx="6">
                  <c:v>105.947516315212</c:v>
                </c:pt>
                <c:pt idx="7">
                  <c:v>94.841537067527</c:v>
                </c:pt>
                <c:pt idx="8">
                  <c:v>76.860427809371998</c:v>
                </c:pt>
                <c:pt idx="9">
                  <c:v>58.526747781448002</c:v>
                </c:pt>
                <c:pt idx="10">
                  <c:v>39.840496983756999</c:v>
                </c:pt>
                <c:pt idx="11">
                  <c:v>23.974812344206999</c:v>
                </c:pt>
                <c:pt idx="12">
                  <c:v>16.041970024432999</c:v>
                </c:pt>
                <c:pt idx="13">
                  <c:v>7.9328423197740001</c:v>
                </c:pt>
                <c:pt idx="14">
                  <c:v>3.3494223127930001</c:v>
                </c:pt>
                <c:pt idx="15">
                  <c:v>4.0545638523290002</c:v>
                </c:pt>
                <c:pt idx="16">
                  <c:v>3.173136927908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5–11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7.03 - 13.03</c:v>
                </c:pt>
                <c:pt idx="1">
                  <c:v>14.03 - 20.03</c:v>
                </c:pt>
                <c:pt idx="2">
                  <c:v>21.03 - 27.03</c:v>
                </c:pt>
                <c:pt idx="3">
                  <c:v>28.03 - 03.04</c:v>
                </c:pt>
                <c:pt idx="4">
                  <c:v>04.04 - 10.04</c:v>
                </c:pt>
                <c:pt idx="5">
                  <c:v>11.04 - 17.04</c:v>
                </c:pt>
                <c:pt idx="6">
                  <c:v>18.04 - 24.04</c:v>
                </c:pt>
                <c:pt idx="7">
                  <c:v>25.04 - 01.05</c:v>
                </c:pt>
                <c:pt idx="8">
                  <c:v>02.05 - 08.05</c:v>
                </c:pt>
                <c:pt idx="9">
                  <c:v>09.05 - 15.05</c:v>
                </c:pt>
                <c:pt idx="10">
                  <c:v>16.05 - 22.05</c:v>
                </c:pt>
                <c:pt idx="11">
                  <c:v>23.05 - 29.05</c:v>
                </c:pt>
                <c:pt idx="12">
                  <c:v>30.05 - 05.06</c:v>
                </c:pt>
                <c:pt idx="13">
                  <c:v>06.06 - 12.06</c:v>
                </c:pt>
                <c:pt idx="14">
                  <c:v>13.06 - 19.06</c:v>
                </c:pt>
                <c:pt idx="15">
                  <c:v>20.06 - 26.06</c:v>
                </c:pt>
                <c:pt idx="16">
                  <c:v>27.06 - 03.07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565.48597662291195</c:v>
                </c:pt>
                <c:pt idx="1">
                  <c:v>451.71364880357697</c:v>
                </c:pt>
                <c:pt idx="2">
                  <c:v>358.94544304319697</c:v>
                </c:pt>
                <c:pt idx="3">
                  <c:v>253.29971006810001</c:v>
                </c:pt>
                <c:pt idx="4">
                  <c:v>198.91403687973701</c:v>
                </c:pt>
                <c:pt idx="5">
                  <c:v>199.164085951868</c:v>
                </c:pt>
                <c:pt idx="6">
                  <c:v>172.658884306045</c:v>
                </c:pt>
                <c:pt idx="7">
                  <c:v>146.903829876613</c:v>
                </c:pt>
                <c:pt idx="8">
                  <c:v>118.39823565374699</c:v>
                </c:pt>
                <c:pt idx="9">
                  <c:v>76.890089680098995</c:v>
                </c:pt>
                <c:pt idx="10">
                  <c:v>63.387439785056998</c:v>
                </c:pt>
                <c:pt idx="11">
                  <c:v>45.633955663799</c:v>
                </c:pt>
                <c:pt idx="12">
                  <c:v>30.505986799909</c:v>
                </c:pt>
                <c:pt idx="13">
                  <c:v>16.253189688475999</c:v>
                </c:pt>
                <c:pt idx="14">
                  <c:v>8.501668452433</c:v>
                </c:pt>
                <c:pt idx="15">
                  <c:v>6.1262022671940004</c:v>
                </c:pt>
                <c:pt idx="16">
                  <c:v>6.50127587539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12–19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7.03 - 13.03</c:v>
                </c:pt>
                <c:pt idx="1">
                  <c:v>14.03 - 20.03</c:v>
                </c:pt>
                <c:pt idx="2">
                  <c:v>21.03 - 27.03</c:v>
                </c:pt>
                <c:pt idx="3">
                  <c:v>28.03 - 03.04</c:v>
                </c:pt>
                <c:pt idx="4">
                  <c:v>04.04 - 10.04</c:v>
                </c:pt>
                <c:pt idx="5">
                  <c:v>11.04 - 17.04</c:v>
                </c:pt>
                <c:pt idx="6">
                  <c:v>18.04 - 24.04</c:v>
                </c:pt>
                <c:pt idx="7">
                  <c:v>25.04 - 01.05</c:v>
                </c:pt>
                <c:pt idx="8">
                  <c:v>02.05 - 08.05</c:v>
                </c:pt>
                <c:pt idx="9">
                  <c:v>09.05 - 15.05</c:v>
                </c:pt>
                <c:pt idx="10">
                  <c:v>16.05 - 22.05</c:v>
                </c:pt>
                <c:pt idx="11">
                  <c:v>23.05 - 29.05</c:v>
                </c:pt>
                <c:pt idx="12">
                  <c:v>30.05 - 05.06</c:v>
                </c:pt>
                <c:pt idx="13">
                  <c:v>06.06 - 12.06</c:v>
                </c:pt>
                <c:pt idx="14">
                  <c:v>13.06 - 19.06</c:v>
                </c:pt>
                <c:pt idx="15">
                  <c:v>20.06 - 26.06</c:v>
                </c:pt>
                <c:pt idx="16">
                  <c:v>27.06 - 03.07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702.656668477474</c:v>
                </c:pt>
                <c:pt idx="1">
                  <c:v>607.52995542566202</c:v>
                </c:pt>
                <c:pt idx="2">
                  <c:v>456.53705553170101</c:v>
                </c:pt>
                <c:pt idx="3">
                  <c:v>339.467148072675</c:v>
                </c:pt>
                <c:pt idx="4">
                  <c:v>260.946095653349</c:v>
                </c:pt>
                <c:pt idx="5">
                  <c:v>231.53035396151699</c:v>
                </c:pt>
                <c:pt idx="6">
                  <c:v>169.14051472803399</c:v>
                </c:pt>
                <c:pt idx="7">
                  <c:v>148.97649824573</c:v>
                </c:pt>
                <c:pt idx="8">
                  <c:v>114.10461091751</c:v>
                </c:pt>
                <c:pt idx="9">
                  <c:v>79.351335450950003</c:v>
                </c:pt>
                <c:pt idx="10">
                  <c:v>60.729273170234002</c:v>
                </c:pt>
                <c:pt idx="11">
                  <c:v>46.851685355942003</c:v>
                </c:pt>
                <c:pt idx="12">
                  <c:v>41.869987166195997</c:v>
                </c:pt>
                <c:pt idx="13">
                  <c:v>33.567156849953001</c:v>
                </c:pt>
                <c:pt idx="14">
                  <c:v>17.198719940787999</c:v>
                </c:pt>
                <c:pt idx="15">
                  <c:v>12.217021751042999</c:v>
                </c:pt>
                <c:pt idx="16">
                  <c:v>23.129313023819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0–19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7.03 - 13.03</c:v>
                </c:pt>
                <c:pt idx="1">
                  <c:v>14.03 - 20.03</c:v>
                </c:pt>
                <c:pt idx="2">
                  <c:v>21.03 - 27.03</c:v>
                </c:pt>
                <c:pt idx="3">
                  <c:v>28.03 - 03.04</c:v>
                </c:pt>
                <c:pt idx="4">
                  <c:v>04.04 - 10.04</c:v>
                </c:pt>
                <c:pt idx="5">
                  <c:v>11.04 - 17.04</c:v>
                </c:pt>
                <c:pt idx="6">
                  <c:v>18.04 - 24.04</c:v>
                </c:pt>
                <c:pt idx="7">
                  <c:v>25.04 - 01.05</c:v>
                </c:pt>
                <c:pt idx="8">
                  <c:v>02.05 - 08.05</c:v>
                </c:pt>
                <c:pt idx="9">
                  <c:v>09.05 - 15.05</c:v>
                </c:pt>
                <c:pt idx="10">
                  <c:v>16.05 - 22.05</c:v>
                </c:pt>
                <c:pt idx="11">
                  <c:v>23.05 - 29.05</c:v>
                </c:pt>
                <c:pt idx="12">
                  <c:v>30.05 - 05.06</c:v>
                </c:pt>
                <c:pt idx="13">
                  <c:v>06.06 - 12.06</c:v>
                </c:pt>
                <c:pt idx="14">
                  <c:v>13.06 - 19.06</c:v>
                </c:pt>
                <c:pt idx="15">
                  <c:v>20.06 - 26.06</c:v>
                </c:pt>
                <c:pt idx="16">
                  <c:v>27.06 - 03.07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570.31270148145495</c:v>
                </c:pt>
                <c:pt idx="1">
                  <c:v>480.90866354989203</c:v>
                </c:pt>
                <c:pt idx="2">
                  <c:v>375.03546073619799</c:v>
                </c:pt>
                <c:pt idx="3">
                  <c:v>272.10318022288499</c:v>
                </c:pt>
                <c:pt idx="4">
                  <c:v>210.57003670723401</c:v>
                </c:pt>
                <c:pt idx="5">
                  <c:v>196.00116008073499</c:v>
                </c:pt>
                <c:pt idx="6">
                  <c:v>154.19481845686599</c:v>
                </c:pt>
                <c:pt idx="7">
                  <c:v>134.33228168968199</c:v>
                </c:pt>
                <c:pt idx="8">
                  <c:v>106.09942760603001</c:v>
                </c:pt>
                <c:pt idx="9">
                  <c:v>73.115852883301997</c:v>
                </c:pt>
                <c:pt idx="10">
                  <c:v>56.329973291900998</c:v>
                </c:pt>
                <c:pt idx="11">
                  <c:v>40.539482786781001</c:v>
                </c:pt>
                <c:pt idx="12">
                  <c:v>31.128531425563999</c:v>
                </c:pt>
                <c:pt idx="13">
                  <c:v>20.722190978063999</c:v>
                </c:pt>
                <c:pt idx="14">
                  <c:v>10.496830364434</c:v>
                </c:pt>
                <c:pt idx="15">
                  <c:v>7.9178677317929997</c:v>
                </c:pt>
                <c:pt idx="16">
                  <c:v>11.9899139938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7.03 - 13.03</c:v>
                </c:pt>
                <c:pt idx="1">
                  <c:v>14.03 - 20.03</c:v>
                </c:pt>
                <c:pt idx="2">
                  <c:v>21.03 - 27.03</c:v>
                </c:pt>
                <c:pt idx="3">
                  <c:v>28.03 - 03.04</c:v>
                </c:pt>
                <c:pt idx="4">
                  <c:v>04.04 - 10.04</c:v>
                </c:pt>
                <c:pt idx="5">
                  <c:v>11.04 - 17.04</c:v>
                </c:pt>
                <c:pt idx="6">
                  <c:v>18.04 - 24.04</c:v>
                </c:pt>
                <c:pt idx="7">
                  <c:v>25.04 - 01.05</c:v>
                </c:pt>
                <c:pt idx="8">
                  <c:v>02.05 - 08.05</c:v>
                </c:pt>
                <c:pt idx="9">
                  <c:v>09.05 - 15.05</c:v>
                </c:pt>
                <c:pt idx="10">
                  <c:v>16.05 - 22.05</c:v>
                </c:pt>
                <c:pt idx="11">
                  <c:v>23.05 - 29.05</c:v>
                </c:pt>
                <c:pt idx="12">
                  <c:v>30.05 - 05.06</c:v>
                </c:pt>
                <c:pt idx="13">
                  <c:v>06.06 - 12.06</c:v>
                </c:pt>
                <c:pt idx="14">
                  <c:v>13.06 - 19.06</c:v>
                </c:pt>
                <c:pt idx="15">
                  <c:v>20.06 - 26.06</c:v>
                </c:pt>
                <c:pt idx="16">
                  <c:v>27.06 - 03.07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726.860595207693</c:v>
                </c:pt>
                <c:pt idx="1">
                  <c:v>615.38378159066394</c:v>
                </c:pt>
                <c:pt idx="2">
                  <c:v>467.76343779168599</c:v>
                </c:pt>
                <c:pt idx="3">
                  <c:v>344.02697794954901</c:v>
                </c:pt>
                <c:pt idx="4">
                  <c:v>264.311244758697</c:v>
                </c:pt>
                <c:pt idx="5">
                  <c:v>202.25612998663601</c:v>
                </c:pt>
                <c:pt idx="6">
                  <c:v>163.32801552489801</c:v>
                </c:pt>
                <c:pt idx="7">
                  <c:v>137.33233275184099</c:v>
                </c:pt>
                <c:pt idx="8">
                  <c:v>102.31945591839499</c:v>
                </c:pt>
                <c:pt idx="9">
                  <c:v>72.436568244694001</c:v>
                </c:pt>
                <c:pt idx="10">
                  <c:v>47.123015177759001</c:v>
                </c:pt>
                <c:pt idx="11">
                  <c:v>30.565017379823001</c:v>
                </c:pt>
                <c:pt idx="12">
                  <c:v>21.921593021420001</c:v>
                </c:pt>
                <c:pt idx="13">
                  <c:v>13.726692305399</c:v>
                </c:pt>
                <c:pt idx="14">
                  <c:v>8.5219492052580001</c:v>
                </c:pt>
                <c:pt idx="15">
                  <c:v>6.4194946315920003</c:v>
                </c:pt>
                <c:pt idx="16">
                  <c:v>8.86768617959399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4380214565155387"/>
          <c:y val="0.25415522984813471"/>
          <c:w val="0.14190389034991419"/>
          <c:h val="0.502802521439899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5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6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4</c:v>
                </c:pt>
                <c:pt idx="27">
                  <c:v>10937</c:v>
                </c:pt>
                <c:pt idx="28">
                  <c:v>16477</c:v>
                </c:pt>
                <c:pt idx="29">
                  <c:v>17061</c:v>
                </c:pt>
                <c:pt idx="30">
                  <c:v>13310</c:v>
                </c:pt>
                <c:pt idx="31">
                  <c:v>3446</c:v>
                </c:pt>
                <c:pt idx="32">
                  <c:v>4986</c:v>
                </c:pt>
                <c:pt idx="33">
                  <c:v>6269</c:v>
                </c:pt>
                <c:pt idx="34">
                  <c:v>12959</c:v>
                </c:pt>
                <c:pt idx="35">
                  <c:v>17407</c:v>
                </c:pt>
                <c:pt idx="36">
                  <c:v>17775</c:v>
                </c:pt>
                <c:pt idx="37">
                  <c:v>14885</c:v>
                </c:pt>
                <c:pt idx="38">
                  <c:v>13103</c:v>
                </c:pt>
                <c:pt idx="39">
                  <c:v>8443</c:v>
                </c:pt>
                <c:pt idx="40">
                  <c:v>4315</c:v>
                </c:pt>
                <c:pt idx="41">
                  <c:v>9386</c:v>
                </c:pt>
                <c:pt idx="42">
                  <c:v>10813</c:v>
                </c:pt>
                <c:pt idx="43">
                  <c:v>10927</c:v>
                </c:pt>
                <c:pt idx="44">
                  <c:v>8106</c:v>
                </c:pt>
                <c:pt idx="45">
                  <c:v>9303</c:v>
                </c:pt>
                <c:pt idx="46">
                  <c:v>5243</c:v>
                </c:pt>
                <c:pt idx="47">
                  <c:v>2644</c:v>
                </c:pt>
                <c:pt idx="48">
                  <c:v>7673</c:v>
                </c:pt>
                <c:pt idx="49">
                  <c:v>9613</c:v>
                </c:pt>
                <c:pt idx="50">
                  <c:v>8224</c:v>
                </c:pt>
                <c:pt idx="51">
                  <c:v>7535</c:v>
                </c:pt>
                <c:pt idx="52">
                  <c:v>8469</c:v>
                </c:pt>
                <c:pt idx="53">
                  <c:v>4240</c:v>
                </c:pt>
                <c:pt idx="54">
                  <c:v>2400</c:v>
                </c:pt>
                <c:pt idx="55">
                  <c:v>6977</c:v>
                </c:pt>
                <c:pt idx="56">
                  <c:v>9196</c:v>
                </c:pt>
                <c:pt idx="57">
                  <c:v>8506</c:v>
                </c:pt>
                <c:pt idx="58">
                  <c:v>8012</c:v>
                </c:pt>
                <c:pt idx="59">
                  <c:v>8053</c:v>
                </c:pt>
                <c:pt idx="60">
                  <c:v>4058</c:v>
                </c:pt>
                <c:pt idx="61">
                  <c:v>2575</c:v>
                </c:pt>
                <c:pt idx="62">
                  <c:v>7227</c:v>
                </c:pt>
                <c:pt idx="63">
                  <c:v>9153</c:v>
                </c:pt>
                <c:pt idx="64">
                  <c:v>9667</c:v>
                </c:pt>
                <c:pt idx="65">
                  <c:v>8110</c:v>
                </c:pt>
                <c:pt idx="66">
                  <c:v>8628</c:v>
                </c:pt>
                <c:pt idx="67">
                  <c:v>4820</c:v>
                </c:pt>
                <c:pt idx="68">
                  <c:v>2451</c:v>
                </c:pt>
                <c:pt idx="69">
                  <c:v>7778</c:v>
                </c:pt>
                <c:pt idx="70">
                  <c:v>10284</c:v>
                </c:pt>
                <c:pt idx="71">
                  <c:v>9543</c:v>
                </c:pt>
                <c:pt idx="72">
                  <c:v>9020</c:v>
                </c:pt>
                <c:pt idx="73">
                  <c:v>8831</c:v>
                </c:pt>
                <c:pt idx="74">
                  <c:v>5143</c:v>
                </c:pt>
                <c:pt idx="75">
                  <c:v>2881</c:v>
                </c:pt>
                <c:pt idx="76">
                  <c:v>8907</c:v>
                </c:pt>
                <c:pt idx="77">
                  <c:v>12610</c:v>
                </c:pt>
                <c:pt idx="78">
                  <c:v>10943</c:v>
                </c:pt>
                <c:pt idx="79">
                  <c:v>11707</c:v>
                </c:pt>
                <c:pt idx="80">
                  <c:v>11287</c:v>
                </c:pt>
                <c:pt idx="81">
                  <c:v>6776</c:v>
                </c:pt>
                <c:pt idx="82">
                  <c:v>4071</c:v>
                </c:pt>
                <c:pt idx="83">
                  <c:v>11419</c:v>
                </c:pt>
                <c:pt idx="84">
                  <c:v>15848</c:v>
                </c:pt>
                <c:pt idx="85">
                  <c:v>13801</c:v>
                </c:pt>
                <c:pt idx="86">
                  <c:v>14591</c:v>
                </c:pt>
                <c:pt idx="87">
                  <c:v>14783</c:v>
                </c:pt>
                <c:pt idx="88">
                  <c:v>7862</c:v>
                </c:pt>
                <c:pt idx="89">
                  <c:v>4593</c:v>
                </c:pt>
                <c:pt idx="90">
                  <c:v>12324</c:v>
                </c:pt>
                <c:pt idx="91">
                  <c:v>16786</c:v>
                </c:pt>
                <c:pt idx="92">
                  <c:v>15241</c:v>
                </c:pt>
                <c:pt idx="93">
                  <c:v>14651</c:v>
                </c:pt>
                <c:pt idx="94">
                  <c:v>13170</c:v>
                </c:pt>
                <c:pt idx="95">
                  <c:v>9130</c:v>
                </c:pt>
                <c:pt idx="96">
                  <c:v>3984</c:v>
                </c:pt>
                <c:pt idx="97">
                  <c:v>10655</c:v>
                </c:pt>
                <c:pt idx="98">
                  <c:v>15361</c:v>
                </c:pt>
                <c:pt idx="99">
                  <c:v>14540</c:v>
                </c:pt>
                <c:pt idx="100">
                  <c:v>11247</c:v>
                </c:pt>
                <c:pt idx="101">
                  <c:v>14977</c:v>
                </c:pt>
                <c:pt idx="102">
                  <c:v>7031</c:v>
                </c:pt>
                <c:pt idx="103">
                  <c:v>3333</c:v>
                </c:pt>
                <c:pt idx="104">
                  <c:v>10631</c:v>
                </c:pt>
                <c:pt idx="105">
                  <c:v>14027</c:v>
                </c:pt>
                <c:pt idx="106">
                  <c:v>12029</c:v>
                </c:pt>
                <c:pt idx="107">
                  <c:v>10662</c:v>
                </c:pt>
                <c:pt idx="108">
                  <c:v>9715</c:v>
                </c:pt>
                <c:pt idx="109">
                  <c:v>5467</c:v>
                </c:pt>
                <c:pt idx="110">
                  <c:v>2391</c:v>
                </c:pt>
                <c:pt idx="111">
                  <c:v>8242</c:v>
                </c:pt>
                <c:pt idx="112">
                  <c:v>10970</c:v>
                </c:pt>
                <c:pt idx="113">
                  <c:v>8853</c:v>
                </c:pt>
                <c:pt idx="114">
                  <c:v>7930</c:v>
                </c:pt>
                <c:pt idx="115">
                  <c:v>7715</c:v>
                </c:pt>
                <c:pt idx="116">
                  <c:v>3970</c:v>
                </c:pt>
                <c:pt idx="117">
                  <c:v>1744</c:v>
                </c:pt>
                <c:pt idx="118">
                  <c:v>6937</c:v>
                </c:pt>
                <c:pt idx="119">
                  <c:v>8634</c:v>
                </c:pt>
                <c:pt idx="120">
                  <c:v>7267</c:v>
                </c:pt>
                <c:pt idx="121">
                  <c:v>6247</c:v>
                </c:pt>
                <c:pt idx="122">
                  <c:v>3836</c:v>
                </c:pt>
                <c:pt idx="123">
                  <c:v>2160</c:v>
                </c:pt>
                <c:pt idx="124">
                  <c:v>1926</c:v>
                </c:pt>
                <c:pt idx="125">
                  <c:v>1419</c:v>
                </c:pt>
                <c:pt idx="126">
                  <c:v>5587</c:v>
                </c:pt>
                <c:pt idx="127">
                  <c:v>7054</c:v>
                </c:pt>
                <c:pt idx="128">
                  <c:v>5283</c:v>
                </c:pt>
                <c:pt idx="129">
                  <c:v>4821</c:v>
                </c:pt>
                <c:pt idx="130">
                  <c:v>2207</c:v>
                </c:pt>
                <c:pt idx="131">
                  <c:v>985</c:v>
                </c:pt>
                <c:pt idx="132">
                  <c:v>3867</c:v>
                </c:pt>
                <c:pt idx="133">
                  <c:v>5055</c:v>
                </c:pt>
                <c:pt idx="134">
                  <c:v>3716</c:v>
                </c:pt>
                <c:pt idx="135">
                  <c:v>3264</c:v>
                </c:pt>
                <c:pt idx="136">
                  <c:v>3218</c:v>
                </c:pt>
                <c:pt idx="137">
                  <c:v>1541</c:v>
                </c:pt>
                <c:pt idx="138">
                  <c:v>833</c:v>
                </c:pt>
                <c:pt idx="139">
                  <c:v>3342</c:v>
                </c:pt>
                <c:pt idx="140">
                  <c:v>3817</c:v>
                </c:pt>
                <c:pt idx="141">
                  <c:v>2951</c:v>
                </c:pt>
                <c:pt idx="142">
                  <c:v>2629</c:v>
                </c:pt>
                <c:pt idx="143">
                  <c:v>2601</c:v>
                </c:pt>
                <c:pt idx="144">
                  <c:v>1308</c:v>
                </c:pt>
                <c:pt idx="145">
                  <c:v>825</c:v>
                </c:pt>
                <c:pt idx="146">
                  <c:v>2580</c:v>
                </c:pt>
                <c:pt idx="147">
                  <c:v>3239</c:v>
                </c:pt>
                <c:pt idx="148">
                  <c:v>2488</c:v>
                </c:pt>
                <c:pt idx="149">
                  <c:v>2229</c:v>
                </c:pt>
                <c:pt idx="150">
                  <c:v>2167</c:v>
                </c:pt>
                <c:pt idx="151">
                  <c:v>1171</c:v>
                </c:pt>
                <c:pt idx="152">
                  <c:v>508</c:v>
                </c:pt>
                <c:pt idx="153">
                  <c:v>2219</c:v>
                </c:pt>
                <c:pt idx="154">
                  <c:v>2415</c:v>
                </c:pt>
                <c:pt idx="155">
                  <c:v>1873</c:v>
                </c:pt>
                <c:pt idx="156">
                  <c:v>1572</c:v>
                </c:pt>
                <c:pt idx="157">
                  <c:v>1638</c:v>
                </c:pt>
                <c:pt idx="158">
                  <c:v>725</c:v>
                </c:pt>
                <c:pt idx="159">
                  <c:v>384</c:v>
                </c:pt>
                <c:pt idx="160">
                  <c:v>1545</c:v>
                </c:pt>
                <c:pt idx="161">
                  <c:v>1690</c:v>
                </c:pt>
                <c:pt idx="162">
                  <c:v>1264</c:v>
                </c:pt>
                <c:pt idx="163">
                  <c:v>1223</c:v>
                </c:pt>
                <c:pt idx="164">
                  <c:v>1051</c:v>
                </c:pt>
                <c:pt idx="165">
                  <c:v>597</c:v>
                </c:pt>
                <c:pt idx="166">
                  <c:v>257</c:v>
                </c:pt>
                <c:pt idx="167">
                  <c:v>1130</c:v>
                </c:pt>
                <c:pt idx="168">
                  <c:v>1199</c:v>
                </c:pt>
                <c:pt idx="169">
                  <c:v>778</c:v>
                </c:pt>
                <c:pt idx="170">
                  <c:v>677</c:v>
                </c:pt>
                <c:pt idx="171">
                  <c:v>671</c:v>
                </c:pt>
                <c:pt idx="172">
                  <c:v>334</c:v>
                </c:pt>
                <c:pt idx="173">
                  <c:v>197</c:v>
                </c:pt>
                <c:pt idx="174">
                  <c:v>697</c:v>
                </c:pt>
                <c:pt idx="175">
                  <c:v>661</c:v>
                </c:pt>
                <c:pt idx="176">
                  <c:v>538</c:v>
                </c:pt>
                <c:pt idx="177">
                  <c:v>506</c:v>
                </c:pt>
                <c:pt idx="178">
                  <c:v>453</c:v>
                </c:pt>
                <c:pt idx="179">
                  <c:v>222</c:v>
                </c:pt>
                <c:pt idx="180">
                  <c:v>112</c:v>
                </c:pt>
                <c:pt idx="181">
                  <c:v>512</c:v>
                </c:pt>
                <c:pt idx="182">
                  <c:v>479</c:v>
                </c:pt>
                <c:pt idx="183">
                  <c:v>351</c:v>
                </c:pt>
                <c:pt idx="184">
                  <c:v>423</c:v>
                </c:pt>
                <c:pt idx="185">
                  <c:v>319</c:v>
                </c:pt>
                <c:pt idx="186">
                  <c:v>152</c:v>
                </c:pt>
                <c:pt idx="187">
                  <c:v>97</c:v>
                </c:pt>
                <c:pt idx="188">
                  <c:v>294</c:v>
                </c:pt>
                <c:pt idx="189">
                  <c:v>386</c:v>
                </c:pt>
                <c:pt idx="190">
                  <c:v>250</c:v>
                </c:pt>
                <c:pt idx="191">
                  <c:v>190</c:v>
                </c:pt>
                <c:pt idx="192">
                  <c:v>179</c:v>
                </c:pt>
                <c:pt idx="193">
                  <c:v>73</c:v>
                </c:pt>
                <c:pt idx="194">
                  <c:v>41</c:v>
                </c:pt>
                <c:pt idx="195">
                  <c:v>175</c:v>
                </c:pt>
                <c:pt idx="196">
                  <c:v>206</c:v>
                </c:pt>
                <c:pt idx="197">
                  <c:v>128</c:v>
                </c:pt>
                <c:pt idx="198">
                  <c:v>157</c:v>
                </c:pt>
                <c:pt idx="199">
                  <c:v>142</c:v>
                </c:pt>
                <c:pt idx="200">
                  <c:v>63</c:v>
                </c:pt>
                <c:pt idx="201">
                  <c:v>57</c:v>
                </c:pt>
                <c:pt idx="202">
                  <c:v>118</c:v>
                </c:pt>
                <c:pt idx="203">
                  <c:v>112</c:v>
                </c:pt>
                <c:pt idx="204">
                  <c:v>105</c:v>
                </c:pt>
                <c:pt idx="205">
                  <c:v>96</c:v>
                </c:pt>
                <c:pt idx="206">
                  <c:v>132</c:v>
                </c:pt>
                <c:pt idx="207">
                  <c:v>67</c:v>
                </c:pt>
                <c:pt idx="208">
                  <c:v>56</c:v>
                </c:pt>
                <c:pt idx="209">
                  <c:v>148</c:v>
                </c:pt>
                <c:pt idx="210">
                  <c:v>156</c:v>
                </c:pt>
                <c:pt idx="211">
                  <c:v>136</c:v>
                </c:pt>
                <c:pt idx="212">
                  <c:v>166</c:v>
                </c:pt>
                <c:pt idx="213">
                  <c:v>163</c:v>
                </c:pt>
                <c:pt idx="214">
                  <c:v>124</c:v>
                </c:pt>
                <c:pt idx="215">
                  <c:v>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BF-4865-80F1-EB367B454D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0BF-4865-80F1-EB367B454D3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88" formatCode="0">
                  <c:v>12384.817441099038</c:v>
                </c:pt>
                <c:pt idx="89" formatCode="0">
                  <c:v>12382.300839481471</c:v>
                </c:pt>
                <c:pt idx="90" formatCode="0">
                  <c:v>12306.025564485491</c:v>
                </c:pt>
                <c:pt idx="91" formatCode="0">
                  <c:v>12189.368745397778</c:v>
                </c:pt>
                <c:pt idx="92" formatCode="0">
                  <c:v>12048.867966689984</c:v>
                </c:pt>
                <c:pt idx="93" formatCode="0">
                  <c:v>11892.934675110129</c:v>
                </c:pt>
                <c:pt idx="94" formatCode="0">
                  <c:v>11725.834216673125</c:v>
                </c:pt>
                <c:pt idx="95" formatCode="0">
                  <c:v>11550.208209364881</c:v>
                </c:pt>
                <c:pt idx="96" formatCode="0">
                  <c:v>11368.638700943482</c:v>
                </c:pt>
                <c:pt idx="97" formatCode="0">
                  <c:v>11182.822926599361</c:v>
                </c:pt>
                <c:pt idx="98" formatCode="0">
                  <c:v>10992.859014488589</c:v>
                </c:pt>
                <c:pt idx="99" formatCode="0">
                  <c:v>10798.636600479667</c:v>
                </c:pt>
                <c:pt idx="100" formatCode="0">
                  <c:v>10600.269885453818</c:v>
                </c:pt>
                <c:pt idx="101" formatCode="0">
                  <c:v>10398.053951750688</c:v>
                </c:pt>
                <c:pt idx="102" formatCode="0">
                  <c:v>10192.745118692863</c:v>
                </c:pt>
                <c:pt idx="103" formatCode="0">
                  <c:v>9985.9770814224175</c:v>
                </c:pt>
                <c:pt idx="104" formatCode="0">
                  <c:v>9778.8622091860725</c:v>
                </c:pt>
                <c:pt idx="105" formatCode="0">
                  <c:v>9571.2003572318972</c:v>
                </c:pt>
                <c:pt idx="106" formatCode="0">
                  <c:v>9362.7649206321112</c:v>
                </c:pt>
                <c:pt idx="107" formatCode="0">
                  <c:v>9153.44117242436</c:v>
                </c:pt>
                <c:pt idx="108" formatCode="0">
                  <c:v>8943.2337378033681</c:v>
                </c:pt>
                <c:pt idx="109" formatCode="0">
                  <c:v>8732.6825829176378</c:v>
                </c:pt>
                <c:pt idx="110" formatCode="0">
                  <c:v>8523.3015476276541</c:v>
                </c:pt>
                <c:pt idx="111" formatCode="0">
                  <c:v>8316.2290584879775</c:v>
                </c:pt>
                <c:pt idx="112" formatCode="0">
                  <c:v>8111.4045814208403</c:v>
                </c:pt>
                <c:pt idx="113" formatCode="0">
                  <c:v>7908.4062434649368</c:v>
                </c:pt>
                <c:pt idx="114" formatCode="0">
                  <c:v>7707.1973917901341</c:v>
                </c:pt>
                <c:pt idx="115" formatCode="0">
                  <c:v>7507.8580993192882</c:v>
                </c:pt>
                <c:pt idx="116" formatCode="0">
                  <c:v>7310.6559170828687</c:v>
                </c:pt>
                <c:pt idx="117" formatCode="0">
                  <c:v>7116.5812098119522</c:v>
                </c:pt>
                <c:pt idx="118" formatCode="0">
                  <c:v>6926.4590901663696</c:v>
                </c:pt>
                <c:pt idx="119" formatCode="0">
                  <c:v>6740.0615830623565</c:v>
                </c:pt>
                <c:pt idx="120" formatCode="0">
                  <c:v>6557.1801187744095</c:v>
                </c:pt>
                <c:pt idx="121" formatCode="0">
                  <c:v>6377.6959993214505</c:v>
                </c:pt>
                <c:pt idx="122" formatCode="0">
                  <c:v>6201.5713008112043</c:v>
                </c:pt>
                <c:pt idx="123" formatCode="0">
                  <c:v>6028.8239511616448</c:v>
                </c:pt>
                <c:pt idx="124" formatCode="0">
                  <c:v>5860.0111856359517</c:v>
                </c:pt>
                <c:pt idx="125" formatCode="0">
                  <c:v>5695.458952014641</c:v>
                </c:pt>
                <c:pt idx="126" formatCode="0">
                  <c:v>5534.8574913914008</c:v>
                </c:pt>
                <c:pt idx="127" formatCode="0">
                  <c:v>5377.8378171038275</c:v>
                </c:pt>
                <c:pt idx="128" formatCode="0">
                  <c:v>5224.2327045402235</c:v>
                </c:pt>
                <c:pt idx="129" formatCode="0">
                  <c:v>5073.8695937838575</c:v>
                </c:pt>
                <c:pt idx="130" formatCode="0">
                  <c:v>4927.1700433584319</c:v>
                </c:pt>
                <c:pt idx="131" formatCode="0">
                  <c:v>4784.3971464123206</c:v>
                </c:pt>
                <c:pt idx="132" formatCode="0">
                  <c:v>4645.654113291871</c:v>
                </c:pt>
                <c:pt idx="133" formatCode="0">
                  <c:v>4510.9269497820096</c:v>
                </c:pt>
                <c:pt idx="134" formatCode="0">
                  <c:v>4379.8016686046712</c:v>
                </c:pt>
                <c:pt idx="135" formatCode="0">
                  <c:v>4251.8458825625275</c:v>
                </c:pt>
                <c:pt idx="136" formatCode="0">
                  <c:v>4126.4741451235459</c:v>
                </c:pt>
                <c:pt idx="137" formatCode="0">
                  <c:v>4003.3777452064687</c:v>
                </c:pt>
                <c:pt idx="138" formatCode="0">
                  <c:v>3882.9411557437784</c:v>
                </c:pt>
                <c:pt idx="139" formatCode="0">
                  <c:v>3765.4889914775163</c:v>
                </c:pt>
                <c:pt idx="140" formatCode="0">
                  <c:v>3650.584156829746</c:v>
                </c:pt>
                <c:pt idx="141" formatCode="0">
                  <c:v>3538.0488781063041</c:v>
                </c:pt>
                <c:pt idx="142" formatCode="0">
                  <c:v>3427.7511137796259</c:v>
                </c:pt>
                <c:pt idx="143" formatCode="0">
                  <c:v>3319.4522432650147</c:v>
                </c:pt>
                <c:pt idx="144" formatCode="0">
                  <c:v>3213.115343996697</c:v>
                </c:pt>
                <c:pt idx="145" formatCode="0">
                  <c:v>3109.2700126354443</c:v>
                </c:pt>
                <c:pt idx="146" formatCode="0">
                  <c:v>3008.2518185934432</c:v>
                </c:pt>
                <c:pt idx="147" formatCode="0">
                  <c:v>2909.6364604117739</c:v>
                </c:pt>
                <c:pt idx="148" formatCode="0">
                  <c:v>2813.2340318273496</c:v>
                </c:pt>
                <c:pt idx="149" formatCode="0">
                  <c:v>2718.8503623031629</c:v>
                </c:pt>
                <c:pt idx="150" formatCode="0">
                  <c:v>2626.2924142620263</c:v>
                </c:pt>
                <c:pt idx="151" formatCode="0">
                  <c:v>2535.5658876248117</c:v>
                </c:pt>
                <c:pt idx="152" formatCode="0">
                  <c:v>2447.2086038335174</c:v>
                </c:pt>
                <c:pt idx="153" formatCode="0">
                  <c:v>2361.523905795304</c:v>
                </c:pt>
                <c:pt idx="154" formatCode="0">
                  <c:v>2278.1125277959641</c:v>
                </c:pt>
                <c:pt idx="155" formatCode="0">
                  <c:v>2196.7760503662507</c:v>
                </c:pt>
                <c:pt idx="156" formatCode="0">
                  <c:v>2117.278035913464</c:v>
                </c:pt>
                <c:pt idx="157" formatCode="0">
                  <c:v>2039.4285715393758</c:v>
                </c:pt>
                <c:pt idx="158" formatCode="0">
                  <c:v>1963.2060068790429</c:v>
                </c:pt>
                <c:pt idx="159" formatCode="0">
                  <c:v>1889.171884979334</c:v>
                </c:pt>
                <c:pt idx="160" formatCode="0">
                  <c:v>1817.5998586170945</c:v>
                </c:pt>
                <c:pt idx="161" formatCode="0">
                  <c:v>1748.0228696286492</c:v>
                </c:pt>
                <c:pt idx="162" formatCode="0">
                  <c:v>1680.2206922800797</c:v>
                </c:pt>
                <c:pt idx="163" formatCode="0">
                  <c:v>1614.021199822344</c:v>
                </c:pt>
                <c:pt idx="164" formatCode="0">
                  <c:v>1549.2973272770466</c:v>
                </c:pt>
                <c:pt idx="165" formatCode="0">
                  <c:v>1486.0374151789879</c:v>
                </c:pt>
                <c:pt idx="166" formatCode="0">
                  <c:v>1424.7185194965139</c:v>
                </c:pt>
                <c:pt idx="167" formatCode="0">
                  <c:v>1365.608413785985</c:v>
                </c:pt>
                <c:pt idx="168" formatCode="0">
                  <c:v>1308.4117301870797</c:v>
                </c:pt>
                <c:pt idx="169" formatCode="0">
                  <c:v>1252.5899823568957</c:v>
                </c:pt>
                <c:pt idx="170" formatCode="0">
                  <c:v>1197.8974216388406</c:v>
                </c:pt>
                <c:pt idx="171" formatCode="0">
                  <c:v>1144.2487941181141</c:v>
                </c:pt>
                <c:pt idx="172" formatCode="0">
                  <c:v>1091.6450358968598</c:v>
                </c:pt>
                <c:pt idx="173" formatCode="0">
                  <c:v>1040.1311775589443</c:v>
                </c:pt>
                <c:pt idx="174" formatCode="0">
                  <c:v>989.77235147505246</c:v>
                </c:pt>
                <c:pt idx="175" formatCode="0">
                  <c:v>940.6400914282508</c:v>
                </c:pt>
                <c:pt idx="176" formatCode="0">
                  <c:v>892.80455372097185</c:v>
                </c:pt>
                <c:pt idx="177" formatCode="0">
                  <c:v>846.34854865773536</c:v>
                </c:pt>
                <c:pt idx="178" formatCode="0">
                  <c:v>801.33579349642764</c:v>
                </c:pt>
                <c:pt idx="179" formatCode="0">
                  <c:v>757.81442830441028</c:v>
                </c:pt>
                <c:pt idx="180" formatCode="0">
                  <c:v>715.81956847021604</c:v>
                </c:pt>
                <c:pt idx="181" formatCode="0">
                  <c:v>675.47941242024444</c:v>
                </c:pt>
                <c:pt idx="182" formatCode="0">
                  <c:v>636.98616616483378</c:v>
                </c:pt>
                <c:pt idx="183" formatCode="0">
                  <c:v>600.40191528663047</c:v>
                </c:pt>
                <c:pt idx="184" formatCode="0">
                  <c:v>565.71323374620931</c:v>
                </c:pt>
                <c:pt idx="185" formatCode="0">
                  <c:v>532.86482160896037</c:v>
                </c:pt>
                <c:pt idx="186" formatCode="0">
                  <c:v>501.85946636295233</c:v>
                </c:pt>
                <c:pt idx="187" formatCode="0">
                  <c:v>472.64125458781143</c:v>
                </c:pt>
                <c:pt idx="188" formatCode="0">
                  <c:v>445.20721590453269</c:v>
                </c:pt>
                <c:pt idx="189" formatCode="0">
                  <c:v>419.4913047961108</c:v>
                </c:pt>
                <c:pt idx="190" formatCode="0">
                  <c:v>395.26828973992599</c:v>
                </c:pt>
                <c:pt idx="191" formatCode="0">
                  <c:v>372.38041822007278</c:v>
                </c:pt>
                <c:pt idx="192" formatCode="0">
                  <c:v>350.70985337060193</c:v>
                </c:pt>
                <c:pt idx="193" formatCode="0">
                  <c:v>330.16376066431854</c:v>
                </c:pt>
                <c:pt idx="194" formatCode="0">
                  <c:v>310.66600613182362</c:v>
                </c:pt>
                <c:pt idx="195" formatCode="0">
                  <c:v>292.15232325051221</c:v>
                </c:pt>
                <c:pt idx="196" formatCode="0">
                  <c:v>274.56732093555945</c:v>
                </c:pt>
                <c:pt idx="197" formatCode="0">
                  <c:v>257.86249348305995</c:v>
                </c:pt>
                <c:pt idx="198" formatCode="0">
                  <c:v>241.99480061816547</c:v>
                </c:pt>
                <c:pt idx="199" formatCode="0">
                  <c:v>226.92559442857453</c:v>
                </c:pt>
                <c:pt idx="200" formatCode="0">
                  <c:v>212.61977580780766</c:v>
                </c:pt>
                <c:pt idx="201" formatCode="0">
                  <c:v>199.0451162253546</c:v>
                </c:pt>
                <c:pt idx="202" formatCode="0">
                  <c:v>186.17170720137278</c:v>
                </c:pt>
                <c:pt idx="203" formatCode="0">
                  <c:v>173.97151316566197</c:v>
                </c:pt>
                <c:pt idx="204" formatCode="0">
                  <c:v>162.41801020874794</c:v>
                </c:pt>
                <c:pt idx="205" formatCode="0">
                  <c:v>151.48589696917608</c:v>
                </c:pt>
                <c:pt idx="206" formatCode="0">
                  <c:v>141.15086619191931</c:v>
                </c:pt>
                <c:pt idx="207" formatCode="0">
                  <c:v>131.38942711376927</c:v>
                </c:pt>
                <c:pt idx="208" formatCode="0">
                  <c:v>122.17877013174018</c:v>
                </c:pt>
                <c:pt idx="209" formatCode="0">
                  <c:v>113.4966663368248</c:v>
                </c:pt>
                <c:pt idx="210" formatCode="0">
                  <c:v>105.32139550399076</c:v>
                </c:pt>
                <c:pt idx="211" formatCode="0">
                  <c:v>97.631697038649108</c:v>
                </c:pt>
                <c:pt idx="212" formatCode="0">
                  <c:v>90.406739195401343</c:v>
                </c:pt>
                <c:pt idx="213" formatCode="0">
                  <c:v>83.626102609277282</c:v>
                </c:pt>
                <c:pt idx="214" formatCode="0">
                  <c:v>77.269774816417666</c:v>
                </c:pt>
                <c:pt idx="215" formatCode="0">
                  <c:v>71.3181529954226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0BF-4865-80F1-EB367B454D3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88" formatCode="0">
                  <c:v>12384.817441099038</c:v>
                </c:pt>
                <c:pt idx="89" formatCode="0">
                  <c:v>12382.300839481471</c:v>
                </c:pt>
                <c:pt idx="90" formatCode="0">
                  <c:v>12306.025564485491</c:v>
                </c:pt>
                <c:pt idx="91" formatCode="0">
                  <c:v>12189.368745397778</c:v>
                </c:pt>
                <c:pt idx="92" formatCode="0">
                  <c:v>12048.867966689984</c:v>
                </c:pt>
                <c:pt idx="93" formatCode="0">
                  <c:v>11892.934675110129</c:v>
                </c:pt>
                <c:pt idx="94" formatCode="0">
                  <c:v>11725.834216673125</c:v>
                </c:pt>
                <c:pt idx="95" formatCode="0">
                  <c:v>11550.208209364881</c:v>
                </c:pt>
                <c:pt idx="96" formatCode="0">
                  <c:v>11368.638700943482</c:v>
                </c:pt>
                <c:pt idx="97" formatCode="0">
                  <c:v>11182.822926599361</c:v>
                </c:pt>
                <c:pt idx="98" formatCode="0">
                  <c:v>10992.859014488589</c:v>
                </c:pt>
                <c:pt idx="99" formatCode="0">
                  <c:v>10798.636600479667</c:v>
                </c:pt>
                <c:pt idx="100" formatCode="0">
                  <c:v>10600.269885453818</c:v>
                </c:pt>
                <c:pt idx="101" formatCode="0">
                  <c:v>10398.053951750688</c:v>
                </c:pt>
                <c:pt idx="102" formatCode="0">
                  <c:v>10192.745118692863</c:v>
                </c:pt>
                <c:pt idx="103" formatCode="0">
                  <c:v>9985.9770814224175</c:v>
                </c:pt>
                <c:pt idx="104" formatCode="0">
                  <c:v>9778.8622091860725</c:v>
                </c:pt>
                <c:pt idx="105" formatCode="0">
                  <c:v>9571.2003572318972</c:v>
                </c:pt>
                <c:pt idx="106" formatCode="0">
                  <c:v>9362.7649206321112</c:v>
                </c:pt>
                <c:pt idx="107" formatCode="0">
                  <c:v>9153.44117242436</c:v>
                </c:pt>
                <c:pt idx="108" formatCode="0">
                  <c:v>8943.2337378033681</c:v>
                </c:pt>
                <c:pt idx="109" formatCode="0">
                  <c:v>8732.6825829176378</c:v>
                </c:pt>
                <c:pt idx="110" formatCode="0">
                  <c:v>8523.3015476276541</c:v>
                </c:pt>
                <c:pt idx="111" formatCode="0">
                  <c:v>8316.2290584879775</c:v>
                </c:pt>
                <c:pt idx="112" formatCode="0">
                  <c:v>8111.4045814208403</c:v>
                </c:pt>
                <c:pt idx="113" formatCode="0">
                  <c:v>7908.4062434649368</c:v>
                </c:pt>
                <c:pt idx="114" formatCode="0">
                  <c:v>7707.1973917901341</c:v>
                </c:pt>
                <c:pt idx="115" formatCode="0">
                  <c:v>7507.8580993192882</c:v>
                </c:pt>
                <c:pt idx="116" formatCode="0">
                  <c:v>7310.6559170828687</c:v>
                </c:pt>
                <c:pt idx="117" formatCode="0">
                  <c:v>7116.5812098119522</c:v>
                </c:pt>
                <c:pt idx="118" formatCode="0">
                  <c:v>6926.4590901663696</c:v>
                </c:pt>
                <c:pt idx="119" formatCode="0">
                  <c:v>6740.0615830623565</c:v>
                </c:pt>
                <c:pt idx="120" formatCode="0">
                  <c:v>6557.1801187744095</c:v>
                </c:pt>
                <c:pt idx="121" formatCode="0">
                  <c:v>6377.6959993214505</c:v>
                </c:pt>
                <c:pt idx="122" formatCode="0">
                  <c:v>6201.5713008112043</c:v>
                </c:pt>
                <c:pt idx="123" formatCode="0">
                  <c:v>6028.8239511616448</c:v>
                </c:pt>
                <c:pt idx="124" formatCode="0">
                  <c:v>5860.0111856359517</c:v>
                </c:pt>
                <c:pt idx="125" formatCode="0">
                  <c:v>5695.458952014641</c:v>
                </c:pt>
                <c:pt idx="126" formatCode="0">
                  <c:v>5534.8574913914008</c:v>
                </c:pt>
                <c:pt idx="127" formatCode="0">
                  <c:v>5377.8378171038275</c:v>
                </c:pt>
                <c:pt idx="128" formatCode="0">
                  <c:v>5224.2327045402235</c:v>
                </c:pt>
                <c:pt idx="129" formatCode="0">
                  <c:v>5073.8695937838575</c:v>
                </c:pt>
                <c:pt idx="130" formatCode="0">
                  <c:v>4927.1700433584319</c:v>
                </c:pt>
                <c:pt idx="131" formatCode="0">
                  <c:v>4784.3971464123206</c:v>
                </c:pt>
                <c:pt idx="132" formatCode="0">
                  <c:v>4645.654113291871</c:v>
                </c:pt>
                <c:pt idx="133" formatCode="0">
                  <c:v>4510.9269497820096</c:v>
                </c:pt>
                <c:pt idx="134" formatCode="0">
                  <c:v>4379.8016686046712</c:v>
                </c:pt>
                <c:pt idx="135" formatCode="0">
                  <c:v>4251.8458825625275</c:v>
                </c:pt>
                <c:pt idx="136" formatCode="0">
                  <c:v>4126.4741451235459</c:v>
                </c:pt>
                <c:pt idx="137" formatCode="0">
                  <c:v>4003.3777452064687</c:v>
                </c:pt>
                <c:pt idx="138" formatCode="0">
                  <c:v>3882.9411557437784</c:v>
                </c:pt>
                <c:pt idx="139" formatCode="0">
                  <c:v>3765.4889914775163</c:v>
                </c:pt>
                <c:pt idx="140" formatCode="0">
                  <c:v>3650.584156829746</c:v>
                </c:pt>
                <c:pt idx="141" formatCode="0">
                  <c:v>3538.0488781063041</c:v>
                </c:pt>
                <c:pt idx="142" formatCode="0">
                  <c:v>3427.7511137796259</c:v>
                </c:pt>
                <c:pt idx="143" formatCode="0">
                  <c:v>3319.4522432650147</c:v>
                </c:pt>
                <c:pt idx="144" formatCode="0">
                  <c:v>3213.115343996697</c:v>
                </c:pt>
                <c:pt idx="145" formatCode="0">
                  <c:v>3109.2700126354443</c:v>
                </c:pt>
                <c:pt idx="146" formatCode="0">
                  <c:v>3008.2518185934432</c:v>
                </c:pt>
                <c:pt idx="147" formatCode="0">
                  <c:v>2909.6364604117739</c:v>
                </c:pt>
                <c:pt idx="148" formatCode="0">
                  <c:v>2813.2340318273496</c:v>
                </c:pt>
                <c:pt idx="149" formatCode="0">
                  <c:v>2718.8503623031629</c:v>
                </c:pt>
                <c:pt idx="150" formatCode="0">
                  <c:v>2626.2924142620263</c:v>
                </c:pt>
                <c:pt idx="151" formatCode="0">
                  <c:v>2535.5658876248117</c:v>
                </c:pt>
                <c:pt idx="152" formatCode="0">
                  <c:v>2447.2086038335174</c:v>
                </c:pt>
                <c:pt idx="153" formatCode="0">
                  <c:v>2361.523905795304</c:v>
                </c:pt>
                <c:pt idx="154" formatCode="0">
                  <c:v>2278.1125277959641</c:v>
                </c:pt>
                <c:pt idx="155" formatCode="0">
                  <c:v>2196.7760503662507</c:v>
                </c:pt>
                <c:pt idx="156" formatCode="0">
                  <c:v>2117.278035913464</c:v>
                </c:pt>
                <c:pt idx="157" formatCode="0">
                  <c:v>2039.4285715393758</c:v>
                </c:pt>
                <c:pt idx="158" formatCode="0">
                  <c:v>1963.2060068790429</c:v>
                </c:pt>
                <c:pt idx="159" formatCode="0">
                  <c:v>1889.171884979334</c:v>
                </c:pt>
                <c:pt idx="160" formatCode="0">
                  <c:v>1817.5998586170945</c:v>
                </c:pt>
                <c:pt idx="161" formatCode="0">
                  <c:v>1748.0228696286492</c:v>
                </c:pt>
                <c:pt idx="162" formatCode="0">
                  <c:v>1680.2206922800797</c:v>
                </c:pt>
                <c:pt idx="163" formatCode="0">
                  <c:v>1614.021199822344</c:v>
                </c:pt>
                <c:pt idx="164" formatCode="0">
                  <c:v>1549.2973272770466</c:v>
                </c:pt>
                <c:pt idx="165" formatCode="0">
                  <c:v>1486.0374151789879</c:v>
                </c:pt>
                <c:pt idx="166" formatCode="0">
                  <c:v>1424.7185194965139</c:v>
                </c:pt>
                <c:pt idx="167" formatCode="0">
                  <c:v>1365.608413785985</c:v>
                </c:pt>
                <c:pt idx="168" formatCode="0">
                  <c:v>1338.2352033373941</c:v>
                </c:pt>
                <c:pt idx="169" formatCode="0">
                  <c:v>1325.4753405726274</c:v>
                </c:pt>
                <c:pt idx="170" formatCode="0">
                  <c:v>1319.1613540032301</c:v>
                </c:pt>
                <c:pt idx="171" formatCode="0">
                  <c:v>1315.3704428948847</c:v>
                </c:pt>
                <c:pt idx="172" formatCode="0">
                  <c:v>1312.1984593890695</c:v>
                </c:pt>
                <c:pt idx="173" formatCode="0">
                  <c:v>1308.7063453017815</c:v>
                </c:pt>
                <c:pt idx="174" formatCode="0">
                  <c:v>1304.4206336818625</c:v>
                </c:pt>
                <c:pt idx="175" formatCode="0">
                  <c:v>1322.5785629927936</c:v>
                </c:pt>
                <c:pt idx="176" formatCode="0">
                  <c:v>1350.9355906650044</c:v>
                </c:pt>
                <c:pt idx="177" formatCode="0">
                  <c:v>1383.9321341772529</c:v>
                </c:pt>
                <c:pt idx="178" formatCode="0">
                  <c:v>1418.9625786497843</c:v>
                </c:pt>
                <c:pt idx="179" formatCode="0">
                  <c:v>1454.7453747329726</c:v>
                </c:pt>
                <c:pt idx="180" formatCode="0">
                  <c:v>1490.5961897466966</c:v>
                </c:pt>
                <c:pt idx="181" formatCode="0">
                  <c:v>1526.4627505762526</c:v>
                </c:pt>
                <c:pt idx="182" formatCode="0">
                  <c:v>1562.6744064436593</c:v>
                </c:pt>
                <c:pt idx="183" formatCode="0">
                  <c:v>1599.3383104468153</c:v>
                </c:pt>
                <c:pt idx="184" formatCode="0">
                  <c:v>1636.4267390496225</c:v>
                </c:pt>
                <c:pt idx="185" formatCode="0">
                  <c:v>1673.8334199947876</c:v>
                </c:pt>
                <c:pt idx="186" formatCode="0">
                  <c:v>1711.9323161840794</c:v>
                </c:pt>
                <c:pt idx="187" formatCode="0">
                  <c:v>1750.8369873460992</c:v>
                </c:pt>
                <c:pt idx="188" formatCode="0">
                  <c:v>1791.154581551951</c:v>
                </c:pt>
                <c:pt idx="189" formatCode="0">
                  <c:v>1833.1345875377256</c:v>
                </c:pt>
                <c:pt idx="190" formatCode="0">
                  <c:v>1875.7382873829813</c:v>
                </c:pt>
                <c:pt idx="191" formatCode="0">
                  <c:v>1918.3332065470599</c:v>
                </c:pt>
                <c:pt idx="192" formatCode="0">
                  <c:v>1960.4686226147267</c:v>
                </c:pt>
                <c:pt idx="193" formatCode="0">
                  <c:v>2001.7782742665215</c:v>
                </c:pt>
                <c:pt idx="194" formatCode="0">
                  <c:v>2041.9391907863828</c:v>
                </c:pt>
                <c:pt idx="195" formatCode="0">
                  <c:v>2080.6549216245389</c:v>
                </c:pt>
                <c:pt idx="196" formatCode="0">
                  <c:v>2117.6491427003216</c:v>
                </c:pt>
                <c:pt idx="197" formatCode="0">
                  <c:v>2152.6635322467014</c:v>
                </c:pt>
                <c:pt idx="198" formatCode="0">
                  <c:v>2185.4573177647098</c:v>
                </c:pt>
                <c:pt idx="199" formatCode="0">
                  <c:v>2215.8074274090995</c:v>
                </c:pt>
                <c:pt idx="200" formatCode="0">
                  <c:v>2243.5088313099341</c:v>
                </c:pt>
                <c:pt idx="201" formatCode="0">
                  <c:v>2268.3749246473244</c:v>
                </c:pt>
                <c:pt idx="202" formatCode="0">
                  <c:v>2290.2379052668707</c:v>
                </c:pt>
                <c:pt idx="203" formatCode="0">
                  <c:v>2308.9491315613668</c:v>
                </c:pt>
                <c:pt idx="204" formatCode="0">
                  <c:v>2324.3794533133719</c:v>
                </c:pt>
                <c:pt idx="205" formatCode="0">
                  <c:v>2336.4195067471446</c:v>
                </c:pt>
                <c:pt idx="206" formatCode="0">
                  <c:v>2344.9799620495342</c:v>
                </c:pt>
                <c:pt idx="207" formatCode="0">
                  <c:v>2349.9917094429375</c:v>
                </c:pt>
                <c:pt idx="208" formatCode="0">
                  <c:v>2351.4059690739355</c:v>
                </c:pt>
                <c:pt idx="209" formatCode="0">
                  <c:v>2349.1943104089009</c:v>
                </c:pt>
                <c:pt idx="210" formatCode="0">
                  <c:v>2343.3485682116398</c:v>
                </c:pt>
                <c:pt idx="211" formatCode="0">
                  <c:v>2333.8806442227833</c:v>
                </c:pt>
                <c:pt idx="212" formatCode="0">
                  <c:v>2320.8221861207526</c:v>
                </c:pt>
                <c:pt idx="213" formatCode="0">
                  <c:v>2304.2241380315122</c:v>
                </c:pt>
                <c:pt idx="214" formatCode="0">
                  <c:v>2284.1561596291099</c:v>
                </c:pt>
                <c:pt idx="215" formatCode="0">
                  <c:v>2260.705913628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0BF-4865-80F1-EB367B454D3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0BF-4865-80F1-EB367B454D3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0BF-4865-80F1-EB367B454D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4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CB$7</c:f>
              <c:numCache>
                <c:formatCode>General</c:formatCode>
                <c:ptCount val="79"/>
                <c:pt idx="0">
                  <c:v>2455</c:v>
                </c:pt>
                <c:pt idx="1">
                  <c:v>2480</c:v>
                </c:pt>
                <c:pt idx="2">
                  <c:v>2671</c:v>
                </c:pt>
                <c:pt idx="3">
                  <c:v>2520</c:v>
                </c:pt>
                <c:pt idx="4">
                  <c:v>2347</c:v>
                </c:pt>
                <c:pt idx="5">
                  <c:v>2215</c:v>
                </c:pt>
                <c:pt idx="6">
                  <c:v>2123</c:v>
                </c:pt>
                <c:pt idx="7">
                  <c:v>1878</c:v>
                </c:pt>
                <c:pt idx="8">
                  <c:v>1859</c:v>
                </c:pt>
                <c:pt idx="9">
                  <c:v>1978</c:v>
                </c:pt>
                <c:pt idx="10">
                  <c:v>1821</c:v>
                </c:pt>
                <c:pt idx="11">
                  <c:v>1712</c:v>
                </c:pt>
                <c:pt idx="12">
                  <c:v>1614</c:v>
                </c:pt>
                <c:pt idx="13">
                  <c:v>1520</c:v>
                </c:pt>
                <c:pt idx="14">
                  <c:v>1324</c:v>
                </c:pt>
                <c:pt idx="15">
                  <c:v>1309</c:v>
                </c:pt>
                <c:pt idx="16">
                  <c:v>1389</c:v>
                </c:pt>
                <c:pt idx="17">
                  <c:v>1253</c:v>
                </c:pt>
                <c:pt idx="18">
                  <c:v>1146</c:v>
                </c:pt>
                <c:pt idx="19">
                  <c:v>1056</c:v>
                </c:pt>
                <c:pt idx="20">
                  <c:v>1008</c:v>
                </c:pt>
                <c:pt idx="21">
                  <c:v>864</c:v>
                </c:pt>
                <c:pt idx="22">
                  <c:v>845</c:v>
                </c:pt>
                <c:pt idx="23">
                  <c:v>877</c:v>
                </c:pt>
                <c:pt idx="24">
                  <c:v>785</c:v>
                </c:pt>
                <c:pt idx="25">
                  <c:v>760</c:v>
                </c:pt>
                <c:pt idx="26">
                  <c:v>668</c:v>
                </c:pt>
                <c:pt idx="27">
                  <c:v>610</c:v>
                </c:pt>
                <c:pt idx="28">
                  <c:v>511</c:v>
                </c:pt>
                <c:pt idx="29">
                  <c:v>511</c:v>
                </c:pt>
                <c:pt idx="30">
                  <c:v>549</c:v>
                </c:pt>
                <c:pt idx="31">
                  <c:v>475</c:v>
                </c:pt>
                <c:pt idx="32">
                  <c:v>439</c:v>
                </c:pt>
                <c:pt idx="33">
                  <c:v>391</c:v>
                </c:pt>
                <c:pt idx="34">
                  <c:v>364</c:v>
                </c:pt>
                <c:pt idx="35">
                  <c:v>301</c:v>
                </c:pt>
                <c:pt idx="36">
                  <c:v>299</c:v>
                </c:pt>
                <c:pt idx="37">
                  <c:v>299</c:v>
                </c:pt>
                <c:pt idx="38">
                  <c:v>283</c:v>
                </c:pt>
                <c:pt idx="39">
                  <c:v>254</c:v>
                </c:pt>
                <c:pt idx="40">
                  <c:v>232</c:v>
                </c:pt>
                <c:pt idx="41">
                  <c:v>183</c:v>
                </c:pt>
                <c:pt idx="42">
                  <c:v>158</c:v>
                </c:pt>
                <c:pt idx="43">
                  <c:v>152</c:v>
                </c:pt>
                <c:pt idx="44">
                  <c:v>168</c:v>
                </c:pt>
                <c:pt idx="45">
                  <c:v>141</c:v>
                </c:pt>
                <c:pt idx="46">
                  <c:v>121</c:v>
                </c:pt>
                <c:pt idx="47">
                  <c:v>119</c:v>
                </c:pt>
                <c:pt idx="48">
                  <c:v>110</c:v>
                </c:pt>
                <c:pt idx="49">
                  <c:v>86</c:v>
                </c:pt>
                <c:pt idx="50">
                  <c:v>83</c:v>
                </c:pt>
                <c:pt idx="51">
                  <c:v>87</c:v>
                </c:pt>
                <c:pt idx="52">
                  <c:v>85</c:v>
                </c:pt>
                <c:pt idx="53">
                  <c:v>81</c:v>
                </c:pt>
                <c:pt idx="54">
                  <c:v>79</c:v>
                </c:pt>
                <c:pt idx="55">
                  <c:v>65</c:v>
                </c:pt>
                <c:pt idx="56">
                  <c:v>53</c:v>
                </c:pt>
                <c:pt idx="57">
                  <c:v>54</c:v>
                </c:pt>
                <c:pt idx="58">
                  <c:v>60</c:v>
                </c:pt>
                <c:pt idx="59">
                  <c:v>55</c:v>
                </c:pt>
                <c:pt idx="60">
                  <c:v>57</c:v>
                </c:pt>
                <c:pt idx="61">
                  <c:v>47</c:v>
                </c:pt>
                <c:pt idx="62">
                  <c:v>36</c:v>
                </c:pt>
                <c:pt idx="63">
                  <c:v>3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1C-456E-A57C-9443ADF443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CB$2</c:f>
              <c:numCache>
                <c:formatCode>General</c:formatCode>
                <c:ptCount val="79"/>
                <c:pt idx="31">
                  <c:v>502.82615099999998</c:v>
                </c:pt>
                <c:pt idx="32">
                  <c:v>465.44454500000001</c:v>
                </c:pt>
                <c:pt idx="33">
                  <c:v>430.634704</c:v>
                </c:pt>
                <c:pt idx="34">
                  <c:v>397.92441600000001</c:v>
                </c:pt>
                <c:pt idx="35">
                  <c:v>367.65085099999999</c:v>
                </c:pt>
                <c:pt idx="36">
                  <c:v>340.55668700000001</c:v>
                </c:pt>
                <c:pt idx="37">
                  <c:v>315.42744900000002</c:v>
                </c:pt>
                <c:pt idx="38">
                  <c:v>291.20712900000001</c:v>
                </c:pt>
                <c:pt idx="39">
                  <c:v>268.36195900000001</c:v>
                </c:pt>
                <c:pt idx="40">
                  <c:v>247.00770700000001</c:v>
                </c:pt>
                <c:pt idx="41">
                  <c:v>227.118696</c:v>
                </c:pt>
                <c:pt idx="42">
                  <c:v>209.12903299999999</c:v>
                </c:pt>
                <c:pt idx="43">
                  <c:v>192.87002899999999</c:v>
                </c:pt>
                <c:pt idx="44">
                  <c:v>177.56007700000001</c:v>
                </c:pt>
                <c:pt idx="45">
                  <c:v>162.808536</c:v>
                </c:pt>
                <c:pt idx="46">
                  <c:v>149.02484000000001</c:v>
                </c:pt>
                <c:pt idx="47">
                  <c:v>136.230896</c:v>
                </c:pt>
                <c:pt idx="48">
                  <c:v>124.359826</c:v>
                </c:pt>
                <c:pt idx="49">
                  <c:v>113.33568200000001</c:v>
                </c:pt>
                <c:pt idx="50">
                  <c:v>103.20351100000001</c:v>
                </c:pt>
                <c:pt idx="51">
                  <c:v>93.612288500000005</c:v>
                </c:pt>
                <c:pt idx="52">
                  <c:v>84.605095500000004</c:v>
                </c:pt>
                <c:pt idx="53">
                  <c:v>76.208644899999996</c:v>
                </c:pt>
                <c:pt idx="54">
                  <c:v>68.342205800000002</c:v>
                </c:pt>
                <c:pt idx="55">
                  <c:v>60.959015399999998</c:v>
                </c:pt>
                <c:pt idx="56">
                  <c:v>54.053853699999998</c:v>
                </c:pt>
                <c:pt idx="57">
                  <c:v>47.655241400000001</c:v>
                </c:pt>
                <c:pt idx="58">
                  <c:v>41.5613186</c:v>
                </c:pt>
                <c:pt idx="59">
                  <c:v>35.954308699999999</c:v>
                </c:pt>
                <c:pt idx="60">
                  <c:v>30.677593600000002</c:v>
                </c:pt>
                <c:pt idx="61">
                  <c:v>25.6784535</c:v>
                </c:pt>
                <c:pt idx="62">
                  <c:v>20.964634799999999</c:v>
                </c:pt>
                <c:pt idx="63">
                  <c:v>16.632971999999999</c:v>
                </c:pt>
                <c:pt idx="64">
                  <c:v>12.5675375</c:v>
                </c:pt>
                <c:pt idx="65">
                  <c:v>8.7113642900000006</c:v>
                </c:pt>
                <c:pt idx="66">
                  <c:v>5.1209448100000001</c:v>
                </c:pt>
                <c:pt idx="67">
                  <c:v>1.797763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61C-456E-A57C-9443ADF4434B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CB$3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61C-456E-A57C-9443ADF4434B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CB$4</c:f>
              <c:numCache>
                <c:formatCode>General</c:formatCode>
                <c:ptCount val="79"/>
                <c:pt idx="31">
                  <c:v>503.97789799999998</c:v>
                </c:pt>
                <c:pt idx="32">
                  <c:v>468.53803399999998</c:v>
                </c:pt>
                <c:pt idx="33">
                  <c:v>436.12426799999997</c:v>
                </c:pt>
                <c:pt idx="34">
                  <c:v>406.05948000000001</c:v>
                </c:pt>
                <c:pt idx="35">
                  <c:v>378.745135</c:v>
                </c:pt>
                <c:pt idx="36">
                  <c:v>355.05964699999998</c:v>
                </c:pt>
                <c:pt idx="37">
                  <c:v>333.873446</c:v>
                </c:pt>
                <c:pt idx="38">
                  <c:v>314.05975100000001</c:v>
                </c:pt>
                <c:pt idx="39">
                  <c:v>295.87128999999999</c:v>
                </c:pt>
                <c:pt idx="40">
                  <c:v>279.32502299999999</c:v>
                </c:pt>
                <c:pt idx="41">
                  <c:v>264.31671299999999</c:v>
                </c:pt>
                <c:pt idx="42">
                  <c:v>251.335733</c:v>
                </c:pt>
                <c:pt idx="43">
                  <c:v>240.19736499999999</c:v>
                </c:pt>
                <c:pt idx="44">
                  <c:v>230.030765</c:v>
                </c:pt>
                <c:pt idx="45">
                  <c:v>220.364904</c:v>
                </c:pt>
                <c:pt idx="46">
                  <c:v>211.496477</c:v>
                </c:pt>
                <c:pt idx="47">
                  <c:v>203.44413700000001</c:v>
                </c:pt>
                <c:pt idx="48">
                  <c:v>196.176254</c:v>
                </c:pt>
                <c:pt idx="49">
                  <c:v>189.55929800000001</c:v>
                </c:pt>
                <c:pt idx="50">
                  <c:v>183.621837</c:v>
                </c:pt>
                <c:pt idx="51">
                  <c:v>178.03615500000001</c:v>
                </c:pt>
                <c:pt idx="52">
                  <c:v>172.78086300000001</c:v>
                </c:pt>
                <c:pt idx="53">
                  <c:v>167.87358499999999</c:v>
                </c:pt>
                <c:pt idx="54">
                  <c:v>163.27744000000001</c:v>
                </c:pt>
                <c:pt idx="55">
                  <c:v>158.93407300000001</c:v>
                </c:pt>
                <c:pt idx="56">
                  <c:v>154.84663399999999</c:v>
                </c:pt>
                <c:pt idx="57">
                  <c:v>151.021377</c:v>
                </c:pt>
                <c:pt idx="58">
                  <c:v>147.293238</c:v>
                </c:pt>
                <c:pt idx="59">
                  <c:v>143.79862800000001</c:v>
                </c:pt>
                <c:pt idx="60">
                  <c:v>140.449859</c:v>
                </c:pt>
                <c:pt idx="61">
                  <c:v>137.18829700000001</c:v>
                </c:pt>
                <c:pt idx="62">
                  <c:v>134.031327</c:v>
                </c:pt>
                <c:pt idx="63">
                  <c:v>131.055466</c:v>
                </c:pt>
                <c:pt idx="64">
                  <c:v>128.18436600000001</c:v>
                </c:pt>
                <c:pt idx="65">
                  <c:v>125.379295</c:v>
                </c:pt>
                <c:pt idx="66">
                  <c:v>122.677806</c:v>
                </c:pt>
                <c:pt idx="67">
                  <c:v>120.056788</c:v>
                </c:pt>
                <c:pt idx="68">
                  <c:v>117.529465</c:v>
                </c:pt>
                <c:pt idx="69">
                  <c:v>115.06716299999999</c:v>
                </c:pt>
                <c:pt idx="70">
                  <c:v>112.695024</c:v>
                </c:pt>
                <c:pt idx="71">
                  <c:v>110.380804</c:v>
                </c:pt>
                <c:pt idx="72">
                  <c:v>108.10055800000001</c:v>
                </c:pt>
                <c:pt idx="73">
                  <c:v>105.885927</c:v>
                </c:pt>
                <c:pt idx="74">
                  <c:v>103.74872999999999</c:v>
                </c:pt>
                <c:pt idx="75">
                  <c:v>101.661261</c:v>
                </c:pt>
                <c:pt idx="76">
                  <c:v>99.581150800000003</c:v>
                </c:pt>
                <c:pt idx="77">
                  <c:v>97.614035599999994</c:v>
                </c:pt>
                <c:pt idx="78">
                  <c:v>95.6641618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61C-456E-A57C-9443ADF4434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CB$5</c:f>
              <c:numCache>
                <c:formatCode>General</c:formatCode>
                <c:ptCount val="79"/>
                <c:pt idx="31">
                  <c:v>505.12964399999998</c:v>
                </c:pt>
                <c:pt idx="32">
                  <c:v>471.66351500000002</c:v>
                </c:pt>
                <c:pt idx="33">
                  <c:v>441.65177399999999</c:v>
                </c:pt>
                <c:pt idx="34">
                  <c:v>414.20213899999999</c:v>
                </c:pt>
                <c:pt idx="35">
                  <c:v>389.970101</c:v>
                </c:pt>
                <c:pt idx="36">
                  <c:v>370.00425799999999</c:v>
                </c:pt>
                <c:pt idx="37">
                  <c:v>353.30070799999999</c:v>
                </c:pt>
                <c:pt idx="38">
                  <c:v>338.73737199999999</c:v>
                </c:pt>
                <c:pt idx="39">
                  <c:v>326.243155</c:v>
                </c:pt>
                <c:pt idx="40">
                  <c:v>315.71989400000001</c:v>
                </c:pt>
                <c:pt idx="41">
                  <c:v>307.14496400000002</c:v>
                </c:pt>
                <c:pt idx="42">
                  <c:v>301.12272100000001</c:v>
                </c:pt>
                <c:pt idx="43">
                  <c:v>297.49069200000002</c:v>
                </c:pt>
                <c:pt idx="44">
                  <c:v>295.22727400000002</c:v>
                </c:pt>
                <c:pt idx="45">
                  <c:v>293.79348299999998</c:v>
                </c:pt>
                <c:pt idx="46">
                  <c:v>293.36459100000002</c:v>
                </c:pt>
                <c:pt idx="47">
                  <c:v>294.04133200000001</c:v>
                </c:pt>
                <c:pt idx="48">
                  <c:v>295.79985499999998</c:v>
                </c:pt>
                <c:pt idx="49">
                  <c:v>298.49237099999999</c:v>
                </c:pt>
                <c:pt idx="50">
                  <c:v>302.119147</c:v>
                </c:pt>
                <c:pt idx="51">
                  <c:v>306.22636899999998</c:v>
                </c:pt>
                <c:pt idx="52">
                  <c:v>310.77859999999998</c:v>
                </c:pt>
                <c:pt idx="53">
                  <c:v>315.86956800000002</c:v>
                </c:pt>
                <c:pt idx="54">
                  <c:v>321.47159900000003</c:v>
                </c:pt>
                <c:pt idx="55">
                  <c:v>327.48973999999998</c:v>
                </c:pt>
                <c:pt idx="56">
                  <c:v>333.87667199999999</c:v>
                </c:pt>
                <c:pt idx="57">
                  <c:v>340.676964</c:v>
                </c:pt>
                <c:pt idx="58">
                  <c:v>347.69022899999999</c:v>
                </c:pt>
                <c:pt idx="59">
                  <c:v>355.04261200000002</c:v>
                </c:pt>
                <c:pt idx="60">
                  <c:v>362.70396799999997</c:v>
                </c:pt>
                <c:pt idx="61">
                  <c:v>370.55691999999999</c:v>
                </c:pt>
                <c:pt idx="62">
                  <c:v>378.66441600000002</c:v>
                </c:pt>
                <c:pt idx="63">
                  <c:v>387.07116200000002</c:v>
                </c:pt>
                <c:pt idx="64">
                  <c:v>395.72086000000002</c:v>
                </c:pt>
                <c:pt idx="65">
                  <c:v>404.54248200000001</c:v>
                </c:pt>
                <c:pt idx="66">
                  <c:v>413.62897099999998</c:v>
                </c:pt>
                <c:pt idx="67">
                  <c:v>422.92925500000001</c:v>
                </c:pt>
                <c:pt idx="68">
                  <c:v>432.44426900000002</c:v>
                </c:pt>
                <c:pt idx="69">
                  <c:v>442.13741499999998</c:v>
                </c:pt>
                <c:pt idx="70">
                  <c:v>452.05953499999998</c:v>
                </c:pt>
                <c:pt idx="71">
                  <c:v>462.20982199999997</c:v>
                </c:pt>
                <c:pt idx="72">
                  <c:v>472.500719</c:v>
                </c:pt>
                <c:pt idx="73">
                  <c:v>483.04339499999998</c:v>
                </c:pt>
                <c:pt idx="74">
                  <c:v>493.825424</c:v>
                </c:pt>
                <c:pt idx="75">
                  <c:v>504.77749499999999</c:v>
                </c:pt>
                <c:pt idx="76">
                  <c:v>515.90857200000005</c:v>
                </c:pt>
                <c:pt idx="77">
                  <c:v>527.29682500000001</c:v>
                </c:pt>
                <c:pt idx="78">
                  <c:v>538.8985300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61C-456E-A57C-9443ADF4434B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CB$6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61C-456E-A57C-9443ADF443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CB$7</c:f>
              <c:numCache>
                <c:formatCode>General</c:formatCode>
                <c:ptCount val="79"/>
                <c:pt idx="0">
                  <c:v>554</c:v>
                </c:pt>
                <c:pt idx="1">
                  <c:v>559</c:v>
                </c:pt>
                <c:pt idx="2">
                  <c:v>564</c:v>
                </c:pt>
                <c:pt idx="3">
                  <c:v>544</c:v>
                </c:pt>
                <c:pt idx="4">
                  <c:v>502</c:v>
                </c:pt>
                <c:pt idx="5">
                  <c:v>466</c:v>
                </c:pt>
                <c:pt idx="6">
                  <c:v>441</c:v>
                </c:pt>
                <c:pt idx="7">
                  <c:v>412</c:v>
                </c:pt>
                <c:pt idx="8">
                  <c:v>418</c:v>
                </c:pt>
                <c:pt idx="9">
                  <c:v>425</c:v>
                </c:pt>
                <c:pt idx="10">
                  <c:v>401</c:v>
                </c:pt>
                <c:pt idx="11">
                  <c:v>377</c:v>
                </c:pt>
                <c:pt idx="12">
                  <c:v>366</c:v>
                </c:pt>
                <c:pt idx="13">
                  <c:v>338</c:v>
                </c:pt>
                <c:pt idx="14">
                  <c:v>305</c:v>
                </c:pt>
                <c:pt idx="15">
                  <c:v>300</c:v>
                </c:pt>
                <c:pt idx="16">
                  <c:v>292</c:v>
                </c:pt>
                <c:pt idx="17">
                  <c:v>276</c:v>
                </c:pt>
                <c:pt idx="18">
                  <c:v>247</c:v>
                </c:pt>
                <c:pt idx="19">
                  <c:v>216</c:v>
                </c:pt>
                <c:pt idx="20">
                  <c:v>190</c:v>
                </c:pt>
                <c:pt idx="21">
                  <c:v>186</c:v>
                </c:pt>
                <c:pt idx="22">
                  <c:v>184</c:v>
                </c:pt>
                <c:pt idx="23">
                  <c:v>180</c:v>
                </c:pt>
                <c:pt idx="24">
                  <c:v>159</c:v>
                </c:pt>
                <c:pt idx="25">
                  <c:v>152</c:v>
                </c:pt>
                <c:pt idx="26">
                  <c:v>143</c:v>
                </c:pt>
                <c:pt idx="27">
                  <c:v>124</c:v>
                </c:pt>
                <c:pt idx="28">
                  <c:v>111</c:v>
                </c:pt>
                <c:pt idx="29">
                  <c:v>111</c:v>
                </c:pt>
                <c:pt idx="30">
                  <c:v>116</c:v>
                </c:pt>
                <c:pt idx="31">
                  <c:v>97</c:v>
                </c:pt>
                <c:pt idx="32">
                  <c:v>89</c:v>
                </c:pt>
                <c:pt idx="33">
                  <c:v>84</c:v>
                </c:pt>
                <c:pt idx="34">
                  <c:v>70</c:v>
                </c:pt>
                <c:pt idx="35">
                  <c:v>59</c:v>
                </c:pt>
                <c:pt idx="36">
                  <c:v>59</c:v>
                </c:pt>
                <c:pt idx="37">
                  <c:v>57</c:v>
                </c:pt>
                <c:pt idx="38">
                  <c:v>58</c:v>
                </c:pt>
                <c:pt idx="39">
                  <c:v>54</c:v>
                </c:pt>
                <c:pt idx="40">
                  <c:v>51</c:v>
                </c:pt>
                <c:pt idx="41">
                  <c:v>37</c:v>
                </c:pt>
                <c:pt idx="42">
                  <c:v>36</c:v>
                </c:pt>
                <c:pt idx="43">
                  <c:v>34</c:v>
                </c:pt>
                <c:pt idx="44">
                  <c:v>36</c:v>
                </c:pt>
                <c:pt idx="45">
                  <c:v>26</c:v>
                </c:pt>
                <c:pt idx="46">
                  <c:v>24</c:v>
                </c:pt>
                <c:pt idx="47">
                  <c:v>23</c:v>
                </c:pt>
                <c:pt idx="48">
                  <c:v>21</c:v>
                </c:pt>
                <c:pt idx="49">
                  <c:v>18</c:v>
                </c:pt>
                <c:pt idx="50">
                  <c:v>20</c:v>
                </c:pt>
                <c:pt idx="51">
                  <c:v>18</c:v>
                </c:pt>
                <c:pt idx="52">
                  <c:v>17</c:v>
                </c:pt>
                <c:pt idx="53">
                  <c:v>14</c:v>
                </c:pt>
                <c:pt idx="54">
                  <c:v>16</c:v>
                </c:pt>
                <c:pt idx="55">
                  <c:v>16</c:v>
                </c:pt>
                <c:pt idx="56">
                  <c:v>13</c:v>
                </c:pt>
                <c:pt idx="57">
                  <c:v>12</c:v>
                </c:pt>
                <c:pt idx="58">
                  <c:v>14</c:v>
                </c:pt>
                <c:pt idx="59">
                  <c:v>14</c:v>
                </c:pt>
                <c:pt idx="60">
                  <c:v>11</c:v>
                </c:pt>
                <c:pt idx="61">
                  <c:v>11</c:v>
                </c:pt>
                <c:pt idx="62">
                  <c:v>4</c:v>
                </c:pt>
                <c:pt idx="63">
                  <c:v>3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4D6-4CC8-9598-96E2230D23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CB$2</c:f>
              <c:numCache>
                <c:formatCode>General</c:formatCode>
                <c:ptCount val="79"/>
                <c:pt idx="31">
                  <c:v>108.216054</c:v>
                </c:pt>
                <c:pt idx="32">
                  <c:v>99.791412100000002</c:v>
                </c:pt>
                <c:pt idx="33">
                  <c:v>91.971402699999999</c:v>
                </c:pt>
                <c:pt idx="34">
                  <c:v>84.482604600000002</c:v>
                </c:pt>
                <c:pt idx="35">
                  <c:v>77.506805099999994</c:v>
                </c:pt>
                <c:pt idx="36">
                  <c:v>71.164896799999994</c:v>
                </c:pt>
                <c:pt idx="37">
                  <c:v>65.243038799999994</c:v>
                </c:pt>
                <c:pt idx="38">
                  <c:v>59.682898799999997</c:v>
                </c:pt>
                <c:pt idx="39">
                  <c:v>54.492189199999999</c:v>
                </c:pt>
                <c:pt idx="40">
                  <c:v>49.613094099999998</c:v>
                </c:pt>
                <c:pt idx="41">
                  <c:v>44.965345200000002</c:v>
                </c:pt>
                <c:pt idx="42">
                  <c:v>40.667104000000002</c:v>
                </c:pt>
                <c:pt idx="43">
                  <c:v>36.778024500000001</c:v>
                </c:pt>
                <c:pt idx="44">
                  <c:v>33.040102699999998</c:v>
                </c:pt>
                <c:pt idx="45">
                  <c:v>29.563642999999999</c:v>
                </c:pt>
                <c:pt idx="46">
                  <c:v>26.3252594</c:v>
                </c:pt>
                <c:pt idx="47">
                  <c:v>23.140514199999998</c:v>
                </c:pt>
                <c:pt idx="48">
                  <c:v>20.267273400000001</c:v>
                </c:pt>
                <c:pt idx="49">
                  <c:v>17.5508977</c:v>
                </c:pt>
                <c:pt idx="50">
                  <c:v>14.9197281</c:v>
                </c:pt>
                <c:pt idx="51">
                  <c:v>12.565903</c:v>
                </c:pt>
                <c:pt idx="52">
                  <c:v>10.253795800000001</c:v>
                </c:pt>
                <c:pt idx="53">
                  <c:v>8.0900785000000006</c:v>
                </c:pt>
                <c:pt idx="54">
                  <c:v>6.04372489</c:v>
                </c:pt>
                <c:pt idx="55">
                  <c:v>4.0957453299999997</c:v>
                </c:pt>
                <c:pt idx="56">
                  <c:v>2.33872692</c:v>
                </c:pt>
                <c:pt idx="57">
                  <c:v>0.62440333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4D6-4CC8-9598-96E2230D230A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CB$3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4D6-4CC8-9598-96E2230D230A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CB$4</c:f>
              <c:numCache>
                <c:formatCode>General</c:formatCode>
                <c:ptCount val="79"/>
                <c:pt idx="31">
                  <c:v>108.345489</c:v>
                </c:pt>
                <c:pt idx="32">
                  <c:v>100.152281</c:v>
                </c:pt>
                <c:pt idx="33">
                  <c:v>92.641355200000007</c:v>
                </c:pt>
                <c:pt idx="34">
                  <c:v>85.521567200000007</c:v>
                </c:pt>
                <c:pt idx="35">
                  <c:v>78.982847500000005</c:v>
                </c:pt>
                <c:pt idx="36">
                  <c:v>73.160313200000004</c:v>
                </c:pt>
                <c:pt idx="37">
                  <c:v>67.8558132</c:v>
                </c:pt>
                <c:pt idx="38">
                  <c:v>63.006656100000001</c:v>
                </c:pt>
                <c:pt idx="39">
                  <c:v>58.598275000000001</c:v>
                </c:pt>
                <c:pt idx="40">
                  <c:v>54.560571199999998</c:v>
                </c:pt>
                <c:pt idx="41">
                  <c:v>50.801782000000003</c:v>
                </c:pt>
                <c:pt idx="42">
                  <c:v>47.439826799999999</c:v>
                </c:pt>
                <c:pt idx="43">
                  <c:v>44.529173299999997</c:v>
                </c:pt>
                <c:pt idx="44">
                  <c:v>41.797348800000002</c:v>
                </c:pt>
                <c:pt idx="45">
                  <c:v>39.341598599999998</c:v>
                </c:pt>
                <c:pt idx="46">
                  <c:v>37.122095199999997</c:v>
                </c:pt>
                <c:pt idx="47">
                  <c:v>34.948284800000003</c:v>
                </c:pt>
                <c:pt idx="48">
                  <c:v>33.074871799999997</c:v>
                </c:pt>
                <c:pt idx="49">
                  <c:v>31.336528000000001</c:v>
                </c:pt>
                <c:pt idx="50">
                  <c:v>29.655785600000002</c:v>
                </c:pt>
                <c:pt idx="51">
                  <c:v>28.2244359</c:v>
                </c:pt>
                <c:pt idx="52">
                  <c:v>26.796647700000001</c:v>
                </c:pt>
                <c:pt idx="53">
                  <c:v>25.475558700000001</c:v>
                </c:pt>
                <c:pt idx="54">
                  <c:v>24.2320545</c:v>
                </c:pt>
                <c:pt idx="55">
                  <c:v>23.0434758</c:v>
                </c:pt>
                <c:pt idx="56">
                  <c:v>22.001704700000001</c:v>
                </c:pt>
                <c:pt idx="57">
                  <c:v>20.9554407</c:v>
                </c:pt>
                <c:pt idx="58">
                  <c:v>20.001618000000001</c:v>
                </c:pt>
                <c:pt idx="59">
                  <c:v>19.0711145</c:v>
                </c:pt>
                <c:pt idx="60">
                  <c:v>18.204523699999999</c:v>
                </c:pt>
                <c:pt idx="61">
                  <c:v>17.382268400000001</c:v>
                </c:pt>
                <c:pt idx="62">
                  <c:v>16.5664433</c:v>
                </c:pt>
                <c:pt idx="63">
                  <c:v>15.7835763</c:v>
                </c:pt>
                <c:pt idx="64">
                  <c:v>15.0303944</c:v>
                </c:pt>
                <c:pt idx="65">
                  <c:v>14.3266461</c:v>
                </c:pt>
                <c:pt idx="66">
                  <c:v>13.631684</c:v>
                </c:pt>
                <c:pt idx="67">
                  <c:v>12.975114</c:v>
                </c:pt>
                <c:pt idx="68">
                  <c:v>12.34618</c:v>
                </c:pt>
                <c:pt idx="69">
                  <c:v>11.7259191</c:v>
                </c:pt>
                <c:pt idx="70">
                  <c:v>11.1259295</c:v>
                </c:pt>
                <c:pt idx="71">
                  <c:v>10.547388400000001</c:v>
                </c:pt>
                <c:pt idx="72">
                  <c:v>9.9964870399999999</c:v>
                </c:pt>
                <c:pt idx="73">
                  <c:v>9.4551196300000004</c:v>
                </c:pt>
                <c:pt idx="74">
                  <c:v>8.9165794700000003</c:v>
                </c:pt>
                <c:pt idx="75">
                  <c:v>8.4241237699999996</c:v>
                </c:pt>
                <c:pt idx="76">
                  <c:v>7.9186102199999997</c:v>
                </c:pt>
                <c:pt idx="77">
                  <c:v>7.4517250400000004</c:v>
                </c:pt>
                <c:pt idx="78">
                  <c:v>6.98613533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4D6-4CC8-9598-96E2230D230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CB$5</c:f>
              <c:numCache>
                <c:formatCode>General</c:formatCode>
                <c:ptCount val="79"/>
                <c:pt idx="31">
                  <c:v>108.474923</c:v>
                </c:pt>
                <c:pt idx="32">
                  <c:v>100.516745</c:v>
                </c:pt>
                <c:pt idx="33">
                  <c:v>93.315938700000004</c:v>
                </c:pt>
                <c:pt idx="34">
                  <c:v>86.562305699999996</c:v>
                </c:pt>
                <c:pt idx="35">
                  <c:v>80.4746478</c:v>
                </c:pt>
                <c:pt idx="36">
                  <c:v>75.207821899999999</c:v>
                </c:pt>
                <c:pt idx="37">
                  <c:v>70.586714400000005</c:v>
                </c:pt>
                <c:pt idx="38">
                  <c:v>66.555922300000006</c:v>
                </c:pt>
                <c:pt idx="39">
                  <c:v>63.069769999999998</c:v>
                </c:pt>
                <c:pt idx="40">
                  <c:v>60.046059999999997</c:v>
                </c:pt>
                <c:pt idx="41">
                  <c:v>57.401267400000002</c:v>
                </c:pt>
                <c:pt idx="42">
                  <c:v>55.262796399999999</c:v>
                </c:pt>
                <c:pt idx="43">
                  <c:v>53.688152299999999</c:v>
                </c:pt>
                <c:pt idx="44">
                  <c:v>52.388123899999997</c:v>
                </c:pt>
                <c:pt idx="45">
                  <c:v>51.451150900000002</c:v>
                </c:pt>
                <c:pt idx="46">
                  <c:v>50.821773499999999</c:v>
                </c:pt>
                <c:pt idx="47">
                  <c:v>50.315192500000002</c:v>
                </c:pt>
                <c:pt idx="48">
                  <c:v>50.182124999999999</c:v>
                </c:pt>
                <c:pt idx="49">
                  <c:v>50.253386900000002</c:v>
                </c:pt>
                <c:pt idx="50">
                  <c:v>50.446592099999997</c:v>
                </c:pt>
                <c:pt idx="51">
                  <c:v>50.938384800000001</c:v>
                </c:pt>
                <c:pt idx="52">
                  <c:v>51.477762800000001</c:v>
                </c:pt>
                <c:pt idx="53">
                  <c:v>52.173609900000002</c:v>
                </c:pt>
                <c:pt idx="54">
                  <c:v>52.995091700000003</c:v>
                </c:pt>
                <c:pt idx="55">
                  <c:v>53.913669400000003</c:v>
                </c:pt>
                <c:pt idx="56">
                  <c:v>55.014189399999999</c:v>
                </c:pt>
                <c:pt idx="57">
                  <c:v>56.148138400000001</c:v>
                </c:pt>
                <c:pt idx="58">
                  <c:v>57.407308499999999</c:v>
                </c:pt>
                <c:pt idx="59">
                  <c:v>58.720502699999997</c:v>
                </c:pt>
                <c:pt idx="60">
                  <c:v>60.132998100000002</c:v>
                </c:pt>
                <c:pt idx="61">
                  <c:v>61.617678499999997</c:v>
                </c:pt>
                <c:pt idx="62">
                  <c:v>63.1410689</c:v>
                </c:pt>
                <c:pt idx="63">
                  <c:v>64.726405400000004</c:v>
                </c:pt>
                <c:pt idx="64">
                  <c:v>66.372072700000004</c:v>
                </c:pt>
                <c:pt idx="65">
                  <c:v>68.093681599999996</c:v>
                </c:pt>
                <c:pt idx="66">
                  <c:v>69.856440899999996</c:v>
                </c:pt>
                <c:pt idx="67">
                  <c:v>71.686767500000002</c:v>
                </c:pt>
                <c:pt idx="68">
                  <c:v>73.5728309</c:v>
                </c:pt>
                <c:pt idx="69">
                  <c:v>75.494614999999996</c:v>
                </c:pt>
                <c:pt idx="70">
                  <c:v>77.466152800000003</c:v>
                </c:pt>
                <c:pt idx="71">
                  <c:v>79.491869800000003</c:v>
                </c:pt>
                <c:pt idx="72">
                  <c:v>81.571774700000006</c:v>
                </c:pt>
                <c:pt idx="73">
                  <c:v>83.696452600000001</c:v>
                </c:pt>
                <c:pt idx="74">
                  <c:v>85.856845199999995</c:v>
                </c:pt>
                <c:pt idx="75">
                  <c:v>88.091995199999999</c:v>
                </c:pt>
                <c:pt idx="76">
                  <c:v>90.348452899999998</c:v>
                </c:pt>
                <c:pt idx="77">
                  <c:v>92.675103100000001</c:v>
                </c:pt>
                <c:pt idx="78">
                  <c:v>95.040508900000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4D6-4CC8-9598-96E2230D230A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CB$6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4D6-4CC8-9598-96E2230D23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G$2:$G$66</c:f>
              <c:numCache>
                <c:formatCode>General</c:formatCode>
                <c:ptCount val="65"/>
                <c:pt idx="0">
                  <c:v>2455</c:v>
                </c:pt>
                <c:pt idx="1">
                  <c:v>2480</c:v>
                </c:pt>
                <c:pt idx="2">
                  <c:v>2671</c:v>
                </c:pt>
                <c:pt idx="3">
                  <c:v>2520</c:v>
                </c:pt>
                <c:pt idx="4">
                  <c:v>2347</c:v>
                </c:pt>
                <c:pt idx="5">
                  <c:v>2215</c:v>
                </c:pt>
                <c:pt idx="6">
                  <c:v>2123</c:v>
                </c:pt>
                <c:pt idx="7">
                  <c:v>1878</c:v>
                </c:pt>
                <c:pt idx="8">
                  <c:v>1859</c:v>
                </c:pt>
                <c:pt idx="9">
                  <c:v>1978</c:v>
                </c:pt>
                <c:pt idx="10">
                  <c:v>1821</c:v>
                </c:pt>
                <c:pt idx="11">
                  <c:v>1712</c:v>
                </c:pt>
                <c:pt idx="12">
                  <c:v>1614</c:v>
                </c:pt>
                <c:pt idx="13">
                  <c:v>1520</c:v>
                </c:pt>
                <c:pt idx="14">
                  <c:v>1324</c:v>
                </c:pt>
                <c:pt idx="15">
                  <c:v>1309</c:v>
                </c:pt>
                <c:pt idx="16">
                  <c:v>1389</c:v>
                </c:pt>
                <c:pt idx="17">
                  <c:v>1253</c:v>
                </c:pt>
                <c:pt idx="18">
                  <c:v>1146</c:v>
                </c:pt>
                <c:pt idx="19">
                  <c:v>1056</c:v>
                </c:pt>
                <c:pt idx="20">
                  <c:v>1008</c:v>
                </c:pt>
                <c:pt idx="21">
                  <c:v>864</c:v>
                </c:pt>
                <c:pt idx="22">
                  <c:v>845</c:v>
                </c:pt>
                <c:pt idx="23">
                  <c:v>877</c:v>
                </c:pt>
                <c:pt idx="24">
                  <c:v>785</c:v>
                </c:pt>
                <c:pt idx="25">
                  <c:v>760</c:v>
                </c:pt>
                <c:pt idx="26">
                  <c:v>668</c:v>
                </c:pt>
                <c:pt idx="27">
                  <c:v>610</c:v>
                </c:pt>
                <c:pt idx="28">
                  <c:v>511</c:v>
                </c:pt>
                <c:pt idx="29">
                  <c:v>511</c:v>
                </c:pt>
                <c:pt idx="30">
                  <c:v>549</c:v>
                </c:pt>
                <c:pt idx="31">
                  <c:v>475</c:v>
                </c:pt>
                <c:pt idx="32">
                  <c:v>439</c:v>
                </c:pt>
                <c:pt idx="33">
                  <c:v>391</c:v>
                </c:pt>
                <c:pt idx="34">
                  <c:v>364</c:v>
                </c:pt>
                <c:pt idx="35">
                  <c:v>301</c:v>
                </c:pt>
                <c:pt idx="36">
                  <c:v>299</c:v>
                </c:pt>
                <c:pt idx="37">
                  <c:v>299</c:v>
                </c:pt>
                <c:pt idx="38">
                  <c:v>283</c:v>
                </c:pt>
                <c:pt idx="39">
                  <c:v>254</c:v>
                </c:pt>
                <c:pt idx="40">
                  <c:v>232</c:v>
                </c:pt>
                <c:pt idx="41">
                  <c:v>183</c:v>
                </c:pt>
                <c:pt idx="42">
                  <c:v>158</c:v>
                </c:pt>
                <c:pt idx="43">
                  <c:v>152</c:v>
                </c:pt>
                <c:pt idx="44">
                  <c:v>168</c:v>
                </c:pt>
                <c:pt idx="45">
                  <c:v>141</c:v>
                </c:pt>
                <c:pt idx="46">
                  <c:v>121</c:v>
                </c:pt>
                <c:pt idx="47">
                  <c:v>119</c:v>
                </c:pt>
                <c:pt idx="48">
                  <c:v>110</c:v>
                </c:pt>
                <c:pt idx="49">
                  <c:v>86</c:v>
                </c:pt>
                <c:pt idx="50">
                  <c:v>83</c:v>
                </c:pt>
                <c:pt idx="51">
                  <c:v>87</c:v>
                </c:pt>
                <c:pt idx="52">
                  <c:v>85</c:v>
                </c:pt>
                <c:pt idx="53">
                  <c:v>81</c:v>
                </c:pt>
                <c:pt idx="54">
                  <c:v>79</c:v>
                </c:pt>
                <c:pt idx="55">
                  <c:v>65</c:v>
                </c:pt>
                <c:pt idx="56">
                  <c:v>53</c:v>
                </c:pt>
                <c:pt idx="57">
                  <c:v>54</c:v>
                </c:pt>
                <c:pt idx="58">
                  <c:v>60</c:v>
                </c:pt>
                <c:pt idx="59">
                  <c:v>55</c:v>
                </c:pt>
                <c:pt idx="60">
                  <c:v>57</c:v>
                </c:pt>
                <c:pt idx="61">
                  <c:v>47</c:v>
                </c:pt>
                <c:pt idx="62">
                  <c:v>36</c:v>
                </c:pt>
                <c:pt idx="63">
                  <c:v>30</c:v>
                </c:pt>
                <c:pt idx="64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C$2:$C$66</c:f>
              <c:numCache>
                <c:formatCode>General</c:formatCode>
                <c:ptCount val="65"/>
                <c:pt idx="0">
                  <c:v>2734.9344664467917</c:v>
                </c:pt>
                <c:pt idx="1">
                  <c:v>2624.8812167631904</c:v>
                </c:pt>
                <c:pt idx="2">
                  <c:v>2517.274094599969</c:v>
                </c:pt>
                <c:pt idx="3">
                  <c:v>2412.104533954026</c:v>
                </c:pt>
                <c:pt idx="4">
                  <c:v>2309.3488252957818</c:v>
                </c:pt>
                <c:pt idx="5">
                  <c:v>2208.9687156413279</c:v>
                </c:pt>
                <c:pt idx="6">
                  <c:v>2110.9266204012165</c:v>
                </c:pt>
                <c:pt idx="7">
                  <c:v>2015.2071990681184</c:v>
                </c:pt>
                <c:pt idx="8">
                  <c:v>1921.8523125175013</c:v>
                </c:pt>
                <c:pt idx="9">
                  <c:v>1830.9350928819135</c:v>
                </c:pt>
                <c:pt idx="10">
                  <c:v>1742.5089928813661</c:v>
                </c:pt>
                <c:pt idx="11">
                  <c:v>1656.6082414704265</c:v>
                </c:pt>
                <c:pt idx="12">
                  <c:v>1573.2499808295388</c:v>
                </c:pt>
                <c:pt idx="13">
                  <c:v>1492.4374711003575</c:v>
                </c:pt>
                <c:pt idx="14">
                  <c:v>1414.1718663011311</c:v>
                </c:pt>
                <c:pt idx="15">
                  <c:v>1338.4709614377666</c:v>
                </c:pt>
                <c:pt idx="16">
                  <c:v>1265.3599902051565</c:v>
                </c:pt>
                <c:pt idx="17">
                  <c:v>1194.8445940020772</c:v>
                </c:pt>
                <c:pt idx="18">
                  <c:v>1126.9020756297914</c:v>
                </c:pt>
                <c:pt idx="19">
                  <c:v>1061.4887565356221</c:v>
                </c:pt>
                <c:pt idx="20">
                  <c:v>998.54723762312346</c:v>
                </c:pt>
                <c:pt idx="21">
                  <c:v>938.01185347435558</c:v>
                </c:pt>
                <c:pt idx="22">
                  <c:v>879.81136777563142</c:v>
                </c:pt>
                <c:pt idx="23">
                  <c:v>823.87020763276382</c:v>
                </c:pt>
                <c:pt idx="24">
                  <c:v>770.1102602391843</c:v>
                </c:pt>
                <c:pt idx="25">
                  <c:v>718.45287817928659</c:v>
                </c:pt>
                <c:pt idx="26">
                  <c:v>668.82335706730464</c:v>
                </c:pt>
                <c:pt idx="27">
                  <c:v>621.15054756613438</c:v>
                </c:pt>
                <c:pt idx="28">
                  <c:v>575.36663353554422</c:v>
                </c:pt>
                <c:pt idx="29">
                  <c:v>531.40707518999216</c:v>
                </c:pt>
                <c:pt idx="30">
                  <c:v>489.21179959943834</c:v>
                </c:pt>
                <c:pt idx="31">
                  <c:v>448.73557110813027</c:v>
                </c:pt>
                <c:pt idx="32">
                  <c:v>409.94320855181218</c:v>
                </c:pt>
                <c:pt idx="33">
                  <c:v>372.80457180829762</c:v>
                </c:pt>
                <c:pt idx="34">
                  <c:v>337.29123101039568</c:v>
                </c:pt>
                <c:pt idx="35">
                  <c:v>303.37533988109658</c:v>
                </c:pt>
                <c:pt idx="36">
                  <c:v>271.02788462357773</c:v>
                </c:pt>
                <c:pt idx="37">
                  <c:v>240.21863950742392</c:v>
                </c:pt>
                <c:pt idx="38">
                  <c:v>210.91532747268496</c:v>
                </c:pt>
                <c:pt idx="39">
                  <c:v>183.08151974925701</c:v>
                </c:pt>
                <c:pt idx="40">
                  <c:v>160.67710889134301</c:v>
                </c:pt>
                <c:pt idx="41">
                  <c:v>139.65866000480099</c:v>
                </c:pt>
                <c:pt idx="42">
                  <c:v>121.04752884732443</c:v>
                </c:pt>
                <c:pt idx="43">
                  <c:v>113.75244351802394</c:v>
                </c:pt>
                <c:pt idx="44">
                  <c:v>106.90964812700986</c:v>
                </c:pt>
                <c:pt idx="45">
                  <c:v>100.4883565781347</c:v>
                </c:pt>
                <c:pt idx="46">
                  <c:v>94.45893198630074</c:v>
                </c:pt>
                <c:pt idx="47">
                  <c:v>88.793044817080954</c:v>
                </c:pt>
                <c:pt idx="48">
                  <c:v>83.463953660539119</c:v>
                </c:pt>
                <c:pt idx="49">
                  <c:v>78.44674891649629</c:v>
                </c:pt>
                <c:pt idx="50">
                  <c:v>73.718549212266225</c:v>
                </c:pt>
                <c:pt idx="51">
                  <c:v>69.258613415935542</c:v>
                </c:pt>
                <c:pt idx="52">
                  <c:v>65.048309660283849</c:v>
                </c:pt>
                <c:pt idx="53">
                  <c:v>61.07097058344516</c:v>
                </c:pt>
                <c:pt idx="54">
                  <c:v>57.311704650637694</c:v>
                </c:pt>
                <c:pt idx="55">
                  <c:v>53.757191449170932</c:v>
                </c:pt>
                <c:pt idx="56">
                  <c:v>50.395474322809605</c:v>
                </c:pt>
                <c:pt idx="57">
                  <c:v>47.215774430776946</c:v>
                </c:pt>
                <c:pt idx="58">
                  <c:v>44.208320643607294</c:v>
                </c:pt>
                <c:pt idx="59">
                  <c:v>41.364203246543184</c:v>
                </c:pt>
                <c:pt idx="60">
                  <c:v>38.675244257610757</c:v>
                </c:pt>
                <c:pt idx="61">
                  <c:v>36.133891421050066</c:v>
                </c:pt>
                <c:pt idx="62">
                  <c:v>33.733125280676177</c:v>
                </c:pt>
                <c:pt idx="63">
                  <c:v>31.466377897333587</c:v>
                </c:pt>
                <c:pt idx="64">
                  <c:v>29.327467268711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D$2:$D$66</c:f>
              <c:numCache>
                <c:formatCode>General</c:formatCode>
                <c:ptCount val="65"/>
                <c:pt idx="0">
                  <c:v>2734.9344664467917</c:v>
                </c:pt>
                <c:pt idx="1">
                  <c:v>2624.8812167631904</c:v>
                </c:pt>
                <c:pt idx="2">
                  <c:v>2517.274094599969</c:v>
                </c:pt>
                <c:pt idx="3">
                  <c:v>2412.104533954026</c:v>
                </c:pt>
                <c:pt idx="4">
                  <c:v>2309.3488252957818</c:v>
                </c:pt>
                <c:pt idx="5">
                  <c:v>2208.9687156413279</c:v>
                </c:pt>
                <c:pt idx="6">
                  <c:v>2110.9266204012165</c:v>
                </c:pt>
                <c:pt idx="7">
                  <c:v>2015.2071990681184</c:v>
                </c:pt>
                <c:pt idx="8">
                  <c:v>1921.8523125175013</c:v>
                </c:pt>
                <c:pt idx="9">
                  <c:v>1830.9350928819135</c:v>
                </c:pt>
                <c:pt idx="10">
                  <c:v>1742.5089928813661</c:v>
                </c:pt>
                <c:pt idx="11">
                  <c:v>1656.6082414704265</c:v>
                </c:pt>
                <c:pt idx="12">
                  <c:v>1573.2499808295388</c:v>
                </c:pt>
                <c:pt idx="13">
                  <c:v>1492.4374711003575</c:v>
                </c:pt>
                <c:pt idx="14">
                  <c:v>1414.1718663011311</c:v>
                </c:pt>
                <c:pt idx="15">
                  <c:v>1338.4709614377666</c:v>
                </c:pt>
                <c:pt idx="16">
                  <c:v>1265.3599902051565</c:v>
                </c:pt>
                <c:pt idx="17">
                  <c:v>1195.3830579124794</c:v>
                </c:pt>
                <c:pt idx="18">
                  <c:v>1128.854445425716</c:v>
                </c:pt>
                <c:pt idx="19">
                  <c:v>1065.9006600929363</c:v>
                </c:pt>
                <c:pt idx="20">
                  <c:v>1006.5513967700978</c:v>
                </c:pt>
                <c:pt idx="21">
                  <c:v>950.786899373761</c:v>
                </c:pt>
                <c:pt idx="22">
                  <c:v>898.56300686364045</c:v>
                </c:pt>
                <c:pt idx="23">
                  <c:v>849.81434841666646</c:v>
                </c:pt>
                <c:pt idx="24">
                  <c:v>804.85674833111091</c:v>
                </c:pt>
                <c:pt idx="25">
                  <c:v>763.83121049132478</c:v>
                </c:pt>
                <c:pt idx="26">
                  <c:v>726.73734952589109</c:v>
                </c:pt>
                <c:pt idx="27">
                  <c:v>693.4894493554641</c:v>
                </c:pt>
                <c:pt idx="28">
                  <c:v>663.9473152954472</c:v>
                </c:pt>
                <c:pt idx="29">
                  <c:v>637.94510216998719</c:v>
                </c:pt>
                <c:pt idx="30">
                  <c:v>615.31150907408573</c:v>
                </c:pt>
                <c:pt idx="31">
                  <c:v>595.89987946312601</c:v>
                </c:pt>
                <c:pt idx="32">
                  <c:v>579.56832830054771</c:v>
                </c:pt>
                <c:pt idx="33">
                  <c:v>566.17088036043992</c:v>
                </c:pt>
                <c:pt idx="34">
                  <c:v>555.54962212306884</c:v>
                </c:pt>
                <c:pt idx="35">
                  <c:v>547.54172563881593</c:v>
                </c:pt>
                <c:pt idx="36">
                  <c:v>541.98315828459863</c:v>
                </c:pt>
                <c:pt idx="37">
                  <c:v>538.72310085544837</c:v>
                </c:pt>
                <c:pt idx="38">
                  <c:v>537.62012055866944</c:v>
                </c:pt>
                <c:pt idx="39">
                  <c:v>538.52830558786991</c:v>
                </c:pt>
                <c:pt idx="40">
                  <c:v>541.30302446329631</c:v>
                </c:pt>
                <c:pt idx="41">
                  <c:v>545.80255696976542</c:v>
                </c:pt>
                <c:pt idx="42">
                  <c:v>551.88980847790208</c:v>
                </c:pt>
                <c:pt idx="43">
                  <c:v>559.42886052474796</c:v>
                </c:pt>
                <c:pt idx="44">
                  <c:v>568.28359655291069</c:v>
                </c:pt>
                <c:pt idx="45">
                  <c:v>578.31441203862528</c:v>
                </c:pt>
                <c:pt idx="46">
                  <c:v>589.37869750320908</c:v>
                </c:pt>
                <c:pt idx="47">
                  <c:v>601.33283352510057</c:v>
                </c:pt>
                <c:pt idx="48">
                  <c:v>614.03237256026023</c:v>
                </c:pt>
                <c:pt idx="49">
                  <c:v>627.33335172853697</c:v>
                </c:pt>
                <c:pt idx="50">
                  <c:v>641.09257883182738</c:v>
                </c:pt>
                <c:pt idx="51">
                  <c:v>655.16857681654039</c:v>
                </c:pt>
                <c:pt idx="52">
                  <c:v>669.4213264470493</c:v>
                </c:pt>
                <c:pt idx="53">
                  <c:v>683.71300702715939</c:v>
                </c:pt>
                <c:pt idx="54">
                  <c:v>697.9089823345937</c:v>
                </c:pt>
                <c:pt idx="55">
                  <c:v>711.87856567309029</c:v>
                </c:pt>
                <c:pt idx="56">
                  <c:v>725.49613346920808</c:v>
                </c:pt>
                <c:pt idx="57">
                  <c:v>738.6417072177577</c:v>
                </c:pt>
                <c:pt idx="58">
                  <c:v>751.20121981530633</c:v>
                </c:pt>
                <c:pt idx="59">
                  <c:v>763.06686267086025</c:v>
                </c:pt>
                <c:pt idx="60">
                  <c:v>774.13746544001617</c:v>
                </c:pt>
                <c:pt idx="61">
                  <c:v>784.31909672895347</c:v>
                </c:pt>
                <c:pt idx="62">
                  <c:v>793.5254072152461</c:v>
                </c:pt>
                <c:pt idx="63">
                  <c:v>801.67801088992883</c:v>
                </c:pt>
                <c:pt idx="64">
                  <c:v>808.706553149824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6-4360-A02D-44DD6057B4BC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F$2:$F$66</c:f>
              <c:numCache>
                <c:formatCode>General</c:formatCode>
                <c:ptCount val="6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2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6.07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90244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71378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72508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818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svg"/><Relationship Id="rId5" Type="http://schemas.openxmlformats.org/officeDocument/2006/relationships/image" Target="../media/image11.png"/><Relationship Id="rId4" Type="http://schemas.openxmlformats.org/officeDocument/2006/relationships/image" Target="../media/image12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2.sv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svg"/><Relationship Id="rId5" Type="http://schemas.openxmlformats.org/officeDocument/2006/relationships/image" Target="../media/image11.png"/><Relationship Id="rId4" Type="http://schemas.openxmlformats.org/officeDocument/2006/relationships/image" Target="../media/image12.sv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4.svg"/><Relationship Id="rId5" Type="http://schemas.openxmlformats.org/officeDocument/2006/relationships/image" Target="../media/image20.png"/><Relationship Id="rId4" Type="http://schemas.openxmlformats.org/officeDocument/2006/relationships/image" Target="../media/image14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4.svg"/><Relationship Id="rId5" Type="http://schemas.openxmlformats.org/officeDocument/2006/relationships/image" Target="../media/image23.png"/><Relationship Id="rId4" Type="http://schemas.openxmlformats.org/officeDocument/2006/relationships/image" Target="../media/image24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4.svg"/><Relationship Id="rId5" Type="http://schemas.openxmlformats.org/officeDocument/2006/relationships/image" Target="../media/image23.png"/><Relationship Id="rId4" Type="http://schemas.openxmlformats.org/officeDocument/2006/relationships/image" Target="../media/image24.sv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4.svg"/><Relationship Id="rId5" Type="http://schemas.openxmlformats.org/officeDocument/2006/relationships/image" Target="../media/image20.png"/><Relationship Id="rId4" Type="http://schemas.openxmlformats.org/officeDocument/2006/relationships/image" Target="../media/image14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4.svg"/><Relationship Id="rId5" Type="http://schemas.openxmlformats.org/officeDocument/2006/relationships/image" Target="../media/image20.png"/><Relationship Id="rId4" Type="http://schemas.openxmlformats.org/officeDocument/2006/relationships/image" Target="../media/image14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2.sv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6.07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91223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700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4088172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397598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3507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4920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752988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17174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6.07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162503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6C5CD43-27A1-41A8-A512-01DFDF72EF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29D6EDE5-5820-4DC6-94DA-D95C794B26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008B432-85BC-418F-A57C-253AFAA7F4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6.07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B0D9402-2D8E-4FB9-8161-8D00119F8B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2AECA71-E82F-4649-8A24-6636AFE63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328422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FDB54BB-D77B-411B-80A8-BB36F39E05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774C4F0-4F0B-4C37-9EFE-6D33C4980C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2754D4C-9569-4644-BD5E-3F00E03CFF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6.07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D88293E-073F-4829-9267-A51A7ABC07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8175F46-C8C3-4B73-9A7E-9E6AFB393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155982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D5204B5-DA6E-4CCF-8869-93A5915958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CCA1BCD-781F-4E2C-83B5-1BD52A9D9F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DA201BD-C892-4BFD-9C7E-602DA30042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6.07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62DFC0C-31CE-4594-AE22-75ACF9862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579E36E-5C1B-499E-A0E1-47EA5D2AA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749857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D4636ED-3604-40BB-81B1-33BFF7074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3DE2A32-280E-430F-89F0-02DD4ED6DEE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60A0DD2-E959-4E7C-B84C-848CB1BAD2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79809F5-B5D9-4823-98A8-869F2ACF03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6.07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D9EA721-150E-4EB0-9ECF-FDE2E20F1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88906D8-2AB6-402F-81B1-8E63583A18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22378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CC5F3F2-E4F6-44D2-BC8D-3748A0189B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F487FE8-E5BA-4A5C-B0AF-5F8A194F39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6E29BA68-3FF4-469C-9253-26B2C5CECA8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8A24C8C-7565-4369-B063-AC35EDADBA2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A20FD93C-8945-45CC-8CDF-34EBF532A25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CB778519-F60E-4E11-9FF6-BD84A3546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6.07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F5C35377-4A42-4DE0-A17A-C3340CADB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C2D2A8A-CA4B-4E54-9860-5C67E34E7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807689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B55641E-5C1C-4BE3-B0F0-314BD78DF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9F0F57D-01A1-43E4-98AA-935B2DB6E6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6.07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BC1C920E-6E2D-4E35-A596-F02A9BE087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CA80E791-6BEA-40B1-8749-6A82AE9EDF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7201792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46D963F-18FA-4F4E-B2F8-1765691B65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6.07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E9C04A24-2205-4108-BEEB-43B063A989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5E34E1C0-8078-4D4A-A228-35D3572D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723450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E69380-9A73-474C-A071-8018E65EE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E42A117-78BD-4129-A892-24418F3499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0EA7F8D-C8DF-442B-90E1-19ED56C6BBB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E2D6E94F-FFB6-48F8-B695-EB528B1832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6.07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0BC1A3F-79EC-4A2F-A39B-7796828C82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CD9F211B-0AD3-43A4-B9E9-E4C6C877EC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9214815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651DA92-9D49-47F2-A05F-A578FFF8D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AEFC7390-5A75-4225-8766-B58E6A2750A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A32CB42-591C-4FFB-AD05-9752AFF629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8D622D7-BFF7-4AF2-8F8B-21A06ADD48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6.07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5F604F3D-AABB-471E-ACCC-F3A49E78CF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6DC76618-CBA7-45DD-9E79-9D8BD1610F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181712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529D1DB-75DA-485A-AB20-C869545EA9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C099284-889E-4490-825C-0BC746C235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EEE6E0C-15EB-49C5-B1EA-A3370D21FB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6.07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D1ACFAE-E677-40F0-BA16-EA27C59C7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E3CF5FB-35BC-42C4-B710-1801BEA236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936885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476EE0A7-C6D3-41EE-998F-37E80641B0A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8965B1C-45F0-4035-975C-1375F4ACA1F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C10088C-D78F-4418-9E6B-832D4AC507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6.07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0ECDB32-A9A0-433B-AACF-943FAB23D4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A0D8614-1E95-47AF-98BF-68C5169AA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87407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176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84491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50395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802444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3624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66008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89822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92661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4323346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814681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rgbClr val="FFFFFF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29058860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889650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36799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93507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911861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69505254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821065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6.07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561507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8712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6.07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491430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3287598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536228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6.07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6706851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40627392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349912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99158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31577238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796330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69458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530278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6.07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7.sv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5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2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7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6.07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  <p:sldLayoutId id="2147483809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849657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786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4B21331-3533-4DCA-902D-340C5FDCB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50E7000-6EE4-4239-B7E3-AAC3A01940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77F4975-1139-46DC-ACC7-2B69CDCAD92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909051-5E68-48C3-980E-E7BADE00A9DF}" type="datetimeFigureOut">
              <a:rPr lang="cs-CZ" smtClean="0"/>
              <a:t>06.07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16383B7-2D40-461F-8979-4123BD7D17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5E63E90-A2FF-4D88-ABBB-721BE3972A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15816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824438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6.07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56793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4080255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6.07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308413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6.07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72314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835" r:id="rId3"/>
    <p:sldLayoutId id="2147483836" r:id="rId4"/>
    <p:sldLayoutId id="2147483837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chart" Target="../charts/chart5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slideLayout" Target="../slideLayouts/slideLayout54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5" Type="http://schemas.openxmlformats.org/officeDocument/2006/relationships/tags" Target="../tags/tag19.xml"/><Relationship Id="rId10" Type="http://schemas.openxmlformats.org/officeDocument/2006/relationships/tags" Target="../tags/tag24.xml"/><Relationship Id="rId4" Type="http://schemas.openxmlformats.org/officeDocument/2006/relationships/tags" Target="../tags/tag18.xml"/><Relationship Id="rId9" Type="http://schemas.openxmlformats.org/officeDocument/2006/relationships/tags" Target="../tags/tag2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chart" Target="../charts/chart6.xml"/><Relationship Id="rId5" Type="http://schemas.openxmlformats.org/officeDocument/2006/relationships/slideLayout" Target="../slideLayouts/slideLayout15.xml"/><Relationship Id="rId4" Type="http://schemas.openxmlformats.org/officeDocument/2006/relationships/tags" Target="../tags/tag2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5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35.xml"/><Relationship Id="rId9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10" Type="http://schemas.openxmlformats.org/officeDocument/2006/relationships/chart" Target="../charts/chart7.xml"/><Relationship Id="rId4" Type="http://schemas.openxmlformats.org/officeDocument/2006/relationships/tags" Target="../tags/tag43.xml"/><Relationship Id="rId9" Type="http://schemas.openxmlformats.org/officeDocument/2006/relationships/notesSlide" Target="../notesSlides/notesSlide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10" Type="http://schemas.openxmlformats.org/officeDocument/2006/relationships/chart" Target="../charts/chart8.xml"/><Relationship Id="rId4" Type="http://schemas.openxmlformats.org/officeDocument/2006/relationships/tags" Target="../tags/tag50.xml"/><Relationship Id="rId9" Type="http://schemas.openxmlformats.org/officeDocument/2006/relationships/notesSlide" Target="../notesSlides/notesSlide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tags" Target="../tags/tag56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5" Type="http://schemas.openxmlformats.org/officeDocument/2006/relationships/tags" Target="../tags/tag58.xml"/><Relationship Id="rId4" Type="http://schemas.openxmlformats.org/officeDocument/2006/relationships/tags" Target="../tags/tag5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chart" Target="../charts/chart10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64.xml"/><Relationship Id="rId4" Type="http://schemas.openxmlformats.org/officeDocument/2006/relationships/tags" Target="../tags/tag63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tags" Target="../tags/tag67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5" Type="http://schemas.openxmlformats.org/officeDocument/2006/relationships/tags" Target="../tags/tag69.xml"/><Relationship Id="rId4" Type="http://schemas.openxmlformats.org/officeDocument/2006/relationships/tags" Target="../tags/tag68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tags" Target="../tags/tag73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5" Type="http://schemas.openxmlformats.org/officeDocument/2006/relationships/tags" Target="../tags/tag75.xml"/><Relationship Id="rId4" Type="http://schemas.openxmlformats.org/officeDocument/2006/relationships/tags" Target="../tags/tag7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4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1.xml"/><Relationship Id="rId4" Type="http://schemas.openxmlformats.org/officeDocument/2006/relationships/chart" Target="../charts/char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8.xml"/><Relationship Id="rId7" Type="http://schemas.openxmlformats.org/officeDocument/2006/relationships/slideLayout" Target="../slideLayouts/slideLayout2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chart" Target="../charts/chart4.xml"/><Relationship Id="rId4" Type="http://schemas.openxmlformats.org/officeDocument/2006/relationships/slideLayout" Target="../slideLayouts/slideLayout4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828910"/>
            <a:ext cx="11905307" cy="2236911"/>
          </a:xfrm>
        </p:spPr>
        <p:txBody>
          <a:bodyPr>
            <a:normAutofit/>
          </a:bodyPr>
          <a:lstStyle/>
          <a:p>
            <a:r>
              <a:rPr lang="cs-CZ" sz="5200" b="1" dirty="0" smtClean="0"/>
              <a:t>Aktualizace dat pro predikce vývoje epidemie v létě 2021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23007466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2162175" y="6545102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1392508" y="139976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238654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906372" y="1475042"/>
            <a:ext cx="211700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. 3. přerušení veškeré prezenční výuky</a:t>
            </a:r>
          </a:p>
        </p:txBody>
      </p: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2030771" y="2059821"/>
            <a:ext cx="0" cy="8025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/>
        </p:nvSpPr>
        <p:spPr>
          <a:xfrm>
            <a:off x="265215" y="697003"/>
            <a:ext cx="113442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</a:t>
            </a: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louhodobě klesla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e všech věkových kategoriích dětí. 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549370" y="2137945"/>
            <a:ext cx="2457270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 4. otevřeny MŠ pro předškolní děti, návrat 1. stupně ZŠ v rotačním režimu</a:t>
            </a:r>
          </a:p>
        </p:txBody>
      </p: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4685022" y="2879196"/>
            <a:ext cx="0" cy="9077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bdélník 19">
            <a:extLst>
              <a:ext uri="{FF2B5EF4-FFF2-40B4-BE49-F238E27FC236}">
                <a16:creationId xmlns:a16="http://schemas.microsoft.com/office/drawing/2014/main" id="{EC83A386-1D77-43BD-98DD-1074CDE32BD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93544" y="1299345"/>
            <a:ext cx="4195207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6. 4. MŠ otevřeny zcela, SŠ a VOŠ praktické vyučování v PLK, HKK, KVK </a:t>
            </a:r>
            <a:b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3. 5. dále STC, LBK, PAK, PHA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 rozšířením rotační výuky 2. st. ZŠ a od 10. 5. ve zbývajících krajích</a:t>
            </a:r>
            <a:endParaRPr kumimoji="0" lang="cs-CZ" sz="1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0EA45419-FFE6-41F1-9778-325DBC06FC41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5937352" y="2247161"/>
            <a:ext cx="0" cy="21718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931B54ED-96B8-4B0B-88B2-56F3421552FF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6162576" y="2386547"/>
            <a:ext cx="0" cy="21718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16BF9B4A-EA00-4154-9ADA-5E9222B2A3C2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6381942" y="2784276"/>
            <a:ext cx="0" cy="21718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6378239" y="3985810"/>
            <a:ext cx="3859149" cy="11985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sledních cca 10 dnech se zvyšuje počet nově zachycených nákaz u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ladistvých ve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u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d 12 let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3034714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7138" y="3787377"/>
            <a:ext cx="11737724" cy="2238375"/>
          </a:xfrm>
        </p:spPr>
        <p:txBody>
          <a:bodyPr>
            <a:noAutofit/>
          </a:bodyPr>
          <a:lstStyle/>
          <a:p>
            <a:r>
              <a:rPr lang="cs-CZ" sz="4000" b="1" dirty="0" smtClean="0"/>
              <a:t>Modely </a:t>
            </a:r>
            <a:r>
              <a:rPr lang="cs-CZ" sz="4000" b="1" dirty="0"/>
              <a:t>pro dlouhodobé predikce zahrnující </a:t>
            </a:r>
          </a:p>
          <a:p>
            <a:r>
              <a:rPr lang="cs-CZ" sz="4000" b="1" dirty="0"/>
              <a:t>potenciální dopad postupující vakcinace: predikce </a:t>
            </a:r>
          </a:p>
          <a:p>
            <a:r>
              <a:rPr lang="cs-CZ" sz="4000" b="1" dirty="0"/>
              <a:t>na letní měsíce ve variantních scénářích z 14.6. 2021</a:t>
            </a:r>
          </a:p>
        </p:txBody>
      </p:sp>
    </p:spTree>
    <p:extLst>
      <p:ext uri="{BB962C8B-B14F-4D97-AF65-F5344CB8AC3E}">
        <p14:creationId xmlns:p14="http://schemas.microsoft.com/office/powerpoint/2010/main" val="3850450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FFEC489-9795-4E1E-9719-513139DAB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cénáře </a:t>
            </a:r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pro dlouhodobé simulace zahrnující efekt vakcinace </a:t>
            </a:r>
          </a:p>
        </p:txBody>
      </p:sp>
      <p:sp>
        <p:nvSpPr>
          <p:cNvPr id="7" name="Zástupný obsah 3">
            <a:extLst>
              <a:ext uri="{FF2B5EF4-FFF2-40B4-BE49-F238E27FC236}">
                <a16:creationId xmlns:a16="http://schemas.microsoft.com/office/drawing/2014/main" id="{0D560AAE-4E15-4CF5-A76C-2680DC9E6E52}"/>
              </a:ext>
            </a:extLst>
          </p:cNvPr>
          <p:cNvSpPr txBox="1">
            <a:spLocks/>
          </p:cNvSpPr>
          <p:nvPr/>
        </p:nvSpPr>
        <p:spPr>
          <a:xfrm>
            <a:off x="278046" y="1470306"/>
            <a:ext cx="11156668" cy="36955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vé scénáře dlouhodobých simulací z 12. 5. 202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časný vývoj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ále odpovídá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e všech typech aplikovaných modelů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píše optimistickým scénářům, které předpokládají brždění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pidemie posílené o rychlý efekt postupující vakcinac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mulační modely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ěsíc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červen byly uzavřeny a tento vývoj potvrdily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énář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.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kračující brždění epidemie, bez projevu rozvolnění v dubnu/květnu, zahrnutí vlivu očkování (rychlý scénář, imunita od první dávky)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énář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I.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tenciální rizikový dopad rozvolnění v květnu, avšak i zde se zahrnutím vlivu očkování (rychlý scénář, imunita od první dávky)</a:t>
            </a:r>
          </a:p>
        </p:txBody>
      </p:sp>
    </p:spTree>
    <p:extLst>
      <p:ext uri="{BB962C8B-B14F-4D97-AF65-F5344CB8AC3E}">
        <p14:creationId xmlns:p14="http://schemas.microsoft.com/office/powerpoint/2010/main" val="11316801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Scénáře dlouhodobých simulací z 12. 5. 2021</a:t>
            </a:r>
            <a:endParaRPr lang="cs-CZ" sz="2400" dirty="0">
              <a:latin typeface="+mj-lt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22" name="Chart 4">
            <a:extLst>
              <a:ext uri="{FF2B5EF4-FFF2-40B4-BE49-F238E27FC236}">
                <a16:creationId xmlns:a16="http://schemas.microsoft.com/office/drawing/2014/main" id="{9B1BD1AE-205E-4A95-9502-00A2C9A5CFAD}"/>
              </a:ext>
            </a:extLst>
          </p:cNvPr>
          <p:cNvGraphicFramePr/>
          <p:nvPr/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378FF615-A4F0-4CEE-9B65-55CD56CD5F39}"/>
              </a:ext>
            </a:extLst>
          </p:cNvPr>
          <p:cNvCxnSpPr>
            <a:cxnSpLocks/>
          </p:cNvCxnSpPr>
          <p:nvPr/>
        </p:nvCxnSpPr>
        <p:spPr>
          <a:xfrm flipV="1">
            <a:off x="2536182" y="989491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A6208E5E-A268-40D6-B21A-8CE85C4D8725}"/>
              </a:ext>
            </a:extLst>
          </p:cNvPr>
          <p:cNvCxnSpPr>
            <a:cxnSpLocks/>
          </p:cNvCxnSpPr>
          <p:nvPr/>
        </p:nvCxnSpPr>
        <p:spPr>
          <a:xfrm>
            <a:off x="2536182" y="1416293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E84F974F-880E-43ED-B8DA-42DCE16F5B23}"/>
              </a:ext>
            </a:extLst>
          </p:cNvPr>
          <p:cNvSpPr txBox="1"/>
          <p:nvPr/>
        </p:nvSpPr>
        <p:spPr>
          <a:xfrm>
            <a:off x="6162851" y="3429985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63582B17-F054-46FE-81FD-B82BC9DA295F}"/>
              </a:ext>
            </a:extLst>
          </p:cNvPr>
          <p:cNvSpPr txBox="1"/>
          <p:nvPr/>
        </p:nvSpPr>
        <p:spPr>
          <a:xfrm>
            <a:off x="6154994" y="3701186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109ED50E-B068-4B7D-9B7F-8933739C1DA5}"/>
              </a:ext>
            </a:extLst>
          </p:cNvPr>
          <p:cNvSpPr/>
          <p:nvPr/>
        </p:nvSpPr>
        <p:spPr>
          <a:xfrm>
            <a:off x="5881605" y="3108148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07FBEB10-7683-48E3-ADD7-E5DC63694ADB}"/>
              </a:ext>
            </a:extLst>
          </p:cNvPr>
          <p:cNvSpPr txBox="1"/>
          <p:nvPr/>
        </p:nvSpPr>
        <p:spPr>
          <a:xfrm>
            <a:off x="6178785" y="3072380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4. 7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881144BF-6CF0-49C6-9C93-EEC0DB040713}"/>
              </a:ext>
            </a:extLst>
          </p:cNvPr>
          <p:cNvSpPr/>
          <p:nvPr/>
        </p:nvSpPr>
        <p:spPr>
          <a:xfrm>
            <a:off x="6178785" y="3997436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1" name="TextovéPole 29">
            <a:extLst>
              <a:ext uri="{FF2B5EF4-FFF2-40B4-BE49-F238E27FC236}">
                <a16:creationId xmlns:a16="http://schemas.microsoft.com/office/drawing/2014/main" id="{60B8A1EF-4CDA-49D1-BFF3-49A9A3B1C11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815230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2" name="TextovéPole 30">
            <a:extLst>
              <a:ext uri="{FF2B5EF4-FFF2-40B4-BE49-F238E27FC236}">
                <a16:creationId xmlns:a16="http://schemas.microsoft.com/office/drawing/2014/main" id="{CACD5FB8-6C79-45B7-9442-A650829B2FB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550124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3" name="Přímá spojnice 32">
            <a:extLst>
              <a:ext uri="{FF2B5EF4-FFF2-40B4-BE49-F238E27FC236}">
                <a16:creationId xmlns:a16="http://schemas.microsoft.com/office/drawing/2014/main" id="{8AB90F15-D859-414F-AE2F-5BA294664713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583873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Přímá spojnice 33">
            <a:extLst>
              <a:ext uri="{FF2B5EF4-FFF2-40B4-BE49-F238E27FC236}">
                <a16:creationId xmlns:a16="http://schemas.microsoft.com/office/drawing/2014/main" id="{0D5AB2B9-C37E-4268-B88B-3C49E098E218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871743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24">
            <a:extLst>
              <a:ext uri="{FF2B5EF4-FFF2-40B4-BE49-F238E27FC236}">
                <a16:creationId xmlns:a16="http://schemas.microsoft.com/office/drawing/2014/main" id="{219CD013-4DB7-411F-BCE6-F9E4FBC7FA02}"/>
              </a:ext>
            </a:extLst>
          </p:cNvPr>
          <p:cNvSpPr txBox="1"/>
          <p:nvPr/>
        </p:nvSpPr>
        <p:spPr>
          <a:xfrm>
            <a:off x="3060057" y="1940515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891869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205113" y="3088793"/>
            <a:ext cx="11820525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Velkou část léta</a:t>
            </a:r>
            <a:r>
              <a:rPr kumimoji="0" lang="cs-CZ" sz="280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2021 musíme v predikcích počítat s cca 25% - 30% populace, která bude k infekci primárně vnímavá a nebude chráněna ani očkováním, ani proděláním nemoci. </a:t>
            </a:r>
            <a:r>
              <a:rPr lang="cs-CZ" sz="2800" b="1" dirty="0" smtClean="0">
                <a:solidFill>
                  <a:srgbClr val="C00000"/>
                </a:solidFill>
                <a:latin typeface="Calibri" panose="020F0502020204030204"/>
              </a:rPr>
              <a:t>Nadto bude stále velká část očkovaných chráněna pouze 1. dávkou, která nemusí plně působit proti novým variantám viru. Na tuto skutečnost upozorňuje nový scénář modelu SEIR-V (scénář III), který simuluje zejména podmínky šíření Delta varianty viru (vyšší nakažlivost, schopnost infekce po 1. dávce vakcíny).  </a:t>
            </a:r>
            <a:endParaRPr kumimoji="0" lang="cs-CZ" sz="2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216973" y="2676610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87708" y="276227"/>
            <a:ext cx="11618346" cy="2457546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ohledu na velmi příznivý vývoj epidemie</a:t>
            </a:r>
            <a:r>
              <a:rPr kumimoji="0" lang="cs-CZ" sz="4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 měsíci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rvnu v populaci existuje stále značný prostor pro růst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pidemie a pro šíření nákazy, zejména mezi mladšími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ovými kategoriemi, které jsou málo proočkované</a:t>
            </a:r>
            <a:endParaRPr kumimoji="0" lang="cs-CZ" sz="4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321026" y="6356111"/>
            <a:ext cx="1551709" cy="39249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47549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Šipka dolů 1"/>
          <p:cNvSpPr/>
          <p:nvPr/>
        </p:nvSpPr>
        <p:spPr>
          <a:xfrm>
            <a:off x="5475831" y="1932681"/>
            <a:ext cx="97777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louhodobá predikce vychází z původního modelu SEIR, který byl pro epidemii COVID-19 v ČR adaptován na počátku dubna 2020. </a:t>
            </a:r>
            <a:r>
              <a:rPr kumimoji="0" lang="cs-CZ" sz="22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ro rizikový vývoj vyvolaný nárůstem rizikových kontaktů nebo zvýšením reprodukční dynamiky nákazy (virtuální efekt případného opětovného uvolnění nebo efekt šíření nakažlivějších forem viru)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185656" y="6028447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195887" y="2472247"/>
            <a:ext cx="1153766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 byl nově rozvinut a doplněn o komponentu Vakcinace (Model SEIRV)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tedy stav po očkování, přičemž predikce pracují s rychlým efektem vakcinace (plná ochrana již s odstupem po 1. dávce) a s pomalejším efektem vakcinace (plná ochrana po druhé dávce)</a:t>
            </a:r>
          </a:p>
        </p:txBody>
      </p:sp>
      <p:sp>
        <p:nvSpPr>
          <p:cNvPr id="6" name="Obdélník 5"/>
          <p:cNvSpPr/>
          <p:nvPr/>
        </p:nvSpPr>
        <p:spPr>
          <a:xfrm>
            <a:off x="195887" y="4158014"/>
            <a:ext cx="1160647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 uvažuje věkově specifické počty vakcin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le reálných dat ISIN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le nich pracuje s projekcí počtu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čkovaných pro budoucí simulace. Jedinec dosáhne ochrany před nákazou při druhé dávce (pomalý scénář) nebo při první dávce (rychlý scénář), přičemž se předpokládá i ochrana před možností přenášet infekci. Jedinci přecházejí ze stavů S a R proporčně do stavu V (očkovaní jsou i jedinci s prodělanou infekcí v minulosti), nepředpokládá se očkování jedinců aktuálně prodělávajících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fekci. Nový scénář III simuluje podmínky šíření Delta</a:t>
            </a:r>
            <a:r>
              <a:rPr kumimoji="0" lang="cs-CZ" sz="18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arianty viru během letních měsíců (simulace počátku šíření po 20.6.).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69847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51570"/>
            <a:ext cx="9229366" cy="707886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héma stavového modelu SEIR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ro dlouhodobé simulac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 </a:t>
            </a:r>
            <a:r>
              <a:rPr kumimoji="0" lang="en-US" sz="20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padem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</a:t>
            </a:r>
            <a:r>
              <a:rPr kumimoji="0" lang="cs-CZ" sz="20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2B04E69E-696B-426D-92D2-95AD65B197D7}"/>
              </a:ext>
            </a:extLst>
          </p:cNvPr>
          <p:cNvSpPr/>
          <p:nvPr/>
        </p:nvSpPr>
        <p:spPr>
          <a:xfrm>
            <a:off x="1082695" y="271039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chylní jedinci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D063A768-01D3-4A56-8BBA-28DED35E1CE0}"/>
              </a:ext>
            </a:extLst>
          </p:cNvPr>
          <p:cNvSpPr/>
          <p:nvPr/>
        </p:nvSpPr>
        <p:spPr>
          <a:xfrm>
            <a:off x="3824400" y="271039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onovaní jedinci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BADCA929-8F51-4A46-84F0-4EE1E7912B1C}"/>
              </a:ext>
            </a:extLst>
          </p:cNvPr>
          <p:cNvSpPr/>
          <p:nvPr/>
        </p:nvSpPr>
        <p:spPr>
          <a:xfrm>
            <a:off x="6566105" y="1689064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znaky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6AD42F47-49DC-4AF9-9274-1EA0FEA16506}"/>
              </a:ext>
            </a:extLst>
          </p:cNvPr>
          <p:cNvSpPr/>
          <p:nvPr/>
        </p:nvSpPr>
        <p:spPr>
          <a:xfrm>
            <a:off x="9439289" y="2701427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zolovaní jedinci</a:t>
            </a:r>
          </a:p>
        </p:txBody>
      </p:sp>
      <p:sp>
        <p:nvSpPr>
          <p:cNvPr id="22" name="Šipka: doprava 44">
            <a:extLst>
              <a:ext uri="{FF2B5EF4-FFF2-40B4-BE49-F238E27FC236}">
                <a16:creationId xmlns:a16="http://schemas.microsoft.com/office/drawing/2014/main" id="{4C13D826-2505-4EE1-82AE-F4AB7726E1B5}"/>
              </a:ext>
            </a:extLst>
          </p:cNvPr>
          <p:cNvSpPr/>
          <p:nvPr/>
        </p:nvSpPr>
        <p:spPr>
          <a:xfrm>
            <a:off x="3134865" y="3033120"/>
            <a:ext cx="54684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B14B0F29-42EE-4449-8FA0-2FFCC0E7A5D6}"/>
              </a:ext>
            </a:extLst>
          </p:cNvPr>
          <p:cNvSpPr/>
          <p:nvPr/>
        </p:nvSpPr>
        <p:spPr>
          <a:xfrm>
            <a:off x="6566105" y="3736200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příznakoví</a:t>
            </a:r>
          </a:p>
        </p:txBody>
      </p:sp>
      <p:sp>
        <p:nvSpPr>
          <p:cNvPr id="26" name="Šipka: doprava 46">
            <a:extLst>
              <a:ext uri="{FF2B5EF4-FFF2-40B4-BE49-F238E27FC236}">
                <a16:creationId xmlns:a16="http://schemas.microsoft.com/office/drawing/2014/main" id="{D213C4CF-884A-47FE-9932-16FB105C4037}"/>
              </a:ext>
            </a:extLst>
          </p:cNvPr>
          <p:cNvSpPr/>
          <p:nvPr/>
        </p:nvSpPr>
        <p:spPr>
          <a:xfrm>
            <a:off x="5827330" y="2015627"/>
            <a:ext cx="738776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Šipka: doprava 47">
            <a:extLst>
              <a:ext uri="{FF2B5EF4-FFF2-40B4-BE49-F238E27FC236}">
                <a16:creationId xmlns:a16="http://schemas.microsoft.com/office/drawing/2014/main" id="{608B85F7-5E22-4599-8F4E-6A61635A808E}"/>
              </a:ext>
            </a:extLst>
          </p:cNvPr>
          <p:cNvSpPr/>
          <p:nvPr/>
        </p:nvSpPr>
        <p:spPr>
          <a:xfrm>
            <a:off x="5827328" y="4055094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A1F9FDF5-109A-473A-86F7-AE70B59EEBF0}"/>
              </a:ext>
            </a:extLst>
          </p:cNvPr>
          <p:cNvSpPr/>
          <p:nvPr/>
        </p:nvSpPr>
        <p:spPr>
          <a:xfrm>
            <a:off x="5827329" y="2118720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Šipka: doprava 49">
            <a:extLst>
              <a:ext uri="{FF2B5EF4-FFF2-40B4-BE49-F238E27FC236}">
                <a16:creationId xmlns:a16="http://schemas.microsoft.com/office/drawing/2014/main" id="{10587047-838E-48F4-9F92-8CBF3AB25FF0}"/>
              </a:ext>
            </a:extLst>
          </p:cNvPr>
          <p:cNvSpPr/>
          <p:nvPr/>
        </p:nvSpPr>
        <p:spPr>
          <a:xfrm>
            <a:off x="8610864" y="2990538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054974A4-DA60-4490-9AAD-3973AAACF2C2}"/>
              </a:ext>
            </a:extLst>
          </p:cNvPr>
          <p:cNvSpPr/>
          <p:nvPr/>
        </p:nvSpPr>
        <p:spPr>
          <a:xfrm>
            <a:off x="8610865" y="2118720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FE7E001D-0B75-40E0-AAE6-7132D90F7EA2}"/>
              </a:ext>
            </a:extLst>
          </p:cNvPr>
          <p:cNvSpPr txBox="1"/>
          <p:nvPr/>
        </p:nvSpPr>
        <p:spPr>
          <a:xfrm>
            <a:off x="729454" y="1430123"/>
            <a:ext cx="29351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ost onemocnění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tnost kontaktů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infekčních jedinců 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c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9F44768C-5FDA-4214-A558-285F9A9BD9CE}"/>
              </a:ext>
            </a:extLst>
          </p:cNvPr>
          <p:cNvSpPr txBox="1"/>
          <p:nvPr/>
        </p:nvSpPr>
        <p:spPr>
          <a:xfrm>
            <a:off x="3487540" y="1663657"/>
            <a:ext cx="29351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latentního období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o nákaze, před infekčností)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F915E3A6-2C83-4C2A-9CE0-5284C9CD8F0D}"/>
              </a:ext>
            </a:extLst>
          </p:cNvPr>
          <p:cNvSpPr txBox="1"/>
          <p:nvPr/>
        </p:nvSpPr>
        <p:spPr>
          <a:xfrm>
            <a:off x="6326350" y="2755231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bezpříznakových jedinců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EC9FA024-5E59-4474-9F8F-D201213190EE}"/>
              </a:ext>
            </a:extLst>
          </p:cNvPr>
          <p:cNvSpPr txBox="1"/>
          <p:nvPr/>
        </p:nvSpPr>
        <p:spPr>
          <a:xfrm>
            <a:off x="8762459" y="1707122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infekčního období/rychlost izolace</a:t>
            </a: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03E6A01B-C785-4E5E-A264-0E817822A778}"/>
              </a:ext>
            </a:extLst>
          </p:cNvPr>
          <p:cNvSpPr txBox="1"/>
          <p:nvPr/>
        </p:nvSpPr>
        <p:spPr>
          <a:xfrm>
            <a:off x="6179868" y="932247"/>
            <a:ext cx="5074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POČÍTÁNÍ MEZI PŘÍPADY (JEN SYMPTOMATIČTÍ)</a:t>
            </a:r>
          </a:p>
        </p:txBody>
      </p:sp>
      <p:sp>
        <p:nvSpPr>
          <p:cNvPr id="38" name="Šipka: dolů 56">
            <a:extLst>
              <a:ext uri="{FF2B5EF4-FFF2-40B4-BE49-F238E27FC236}">
                <a16:creationId xmlns:a16="http://schemas.microsoft.com/office/drawing/2014/main" id="{782C6E6F-542D-452F-93BB-94B4C05288A8}"/>
              </a:ext>
            </a:extLst>
          </p:cNvPr>
          <p:cNvSpPr/>
          <p:nvPr/>
        </p:nvSpPr>
        <p:spPr>
          <a:xfrm>
            <a:off x="8509197" y="1339569"/>
            <a:ext cx="415367" cy="367553"/>
          </a:xfrm>
          <a:prstGeom prst="downArrow">
            <a:avLst/>
          </a:prstGeom>
          <a:solidFill>
            <a:srgbClr val="D3114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bdélník 38">
            <a:extLst>
              <a:ext uri="{FF2B5EF4-FFF2-40B4-BE49-F238E27FC236}">
                <a16:creationId xmlns:a16="http://schemas.microsoft.com/office/drawing/2014/main" id="{DDCAC9A8-B998-4990-8433-32D07C5EAEB7}"/>
              </a:ext>
            </a:extLst>
          </p:cNvPr>
          <p:cNvSpPr/>
          <p:nvPr/>
        </p:nvSpPr>
        <p:spPr>
          <a:xfrm>
            <a:off x="9439289" y="4938026"/>
            <a:ext cx="1909483" cy="101301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kovaní jedinci</a:t>
            </a:r>
          </a:p>
        </p:txBody>
      </p:sp>
      <p:sp>
        <p:nvSpPr>
          <p:cNvPr id="40" name="Šipka: doprava 20">
            <a:extLst>
              <a:ext uri="{FF2B5EF4-FFF2-40B4-BE49-F238E27FC236}">
                <a16:creationId xmlns:a16="http://schemas.microsoft.com/office/drawing/2014/main" id="{A41BEF73-7A63-410D-95FD-7BD1E2D4B038}"/>
              </a:ext>
            </a:extLst>
          </p:cNvPr>
          <p:cNvSpPr/>
          <p:nvPr/>
        </p:nvSpPr>
        <p:spPr>
          <a:xfrm>
            <a:off x="1804832" y="5210447"/>
            <a:ext cx="7525177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Šipka: doprava 21">
            <a:extLst>
              <a:ext uri="{FF2B5EF4-FFF2-40B4-BE49-F238E27FC236}">
                <a16:creationId xmlns:a16="http://schemas.microsoft.com/office/drawing/2014/main" id="{31B8BC44-7A01-4824-9AED-DF040E9F9BA2}"/>
              </a:ext>
            </a:extLst>
          </p:cNvPr>
          <p:cNvSpPr/>
          <p:nvPr/>
        </p:nvSpPr>
        <p:spPr>
          <a:xfrm rot="5400000">
            <a:off x="9887524" y="4124044"/>
            <a:ext cx="1013009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74FC45F5-50A9-43F3-8CE1-BEE500BD193E}"/>
              </a:ext>
            </a:extLst>
          </p:cNvPr>
          <p:cNvSpPr/>
          <p:nvPr/>
        </p:nvSpPr>
        <p:spPr>
          <a:xfrm>
            <a:off x="1800678" y="3801316"/>
            <a:ext cx="191929" cy="167214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59AD60A5-4AFD-463C-8D2A-104E5B3F5610}"/>
              </a:ext>
            </a:extLst>
          </p:cNvPr>
          <p:cNvSpPr txBox="1"/>
          <p:nvPr/>
        </p:nvSpPr>
        <p:spPr>
          <a:xfrm>
            <a:off x="2070275" y="4846884"/>
            <a:ext cx="2935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očkovaných jedinců</a:t>
            </a:r>
          </a:p>
        </p:txBody>
      </p:sp>
      <p:sp>
        <p:nvSpPr>
          <p:cNvPr id="44" name="Obdélník 43"/>
          <p:cNvSpPr/>
          <p:nvPr/>
        </p:nvSpPr>
        <p:spPr>
          <a:xfrm>
            <a:off x="246823" y="5965498"/>
            <a:ext cx="115376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likace nového modelu s vakcinací vysvětluje rychlejší zpomalování epidemie</a:t>
            </a:r>
          </a:p>
        </p:txBody>
      </p:sp>
      <p:sp>
        <p:nvSpPr>
          <p:cNvPr id="45" name="Šipka dolů 44"/>
          <p:cNvSpPr/>
          <p:nvPr/>
        </p:nvSpPr>
        <p:spPr>
          <a:xfrm>
            <a:off x="5109827" y="6434542"/>
            <a:ext cx="1626932" cy="28630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54751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Šipka dolů 1"/>
          <p:cNvSpPr/>
          <p:nvPr/>
        </p:nvSpPr>
        <p:spPr>
          <a:xfrm>
            <a:off x="5083035" y="3351445"/>
            <a:ext cx="163528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á kalibrace modelu z 14.6. 2021 pokrývá predikce pro období června  - srpna 2021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ové scénáře pracují s potenciálním efektem rozvolňování, s faktorem sezónnosti, který ovlivňuje četnost i rizikovost kontaktů, a zejména s efektem postupující vakcinace dospělé populace.</a:t>
            </a:r>
            <a:endParaRPr kumimoji="0" lang="cs-CZ" sz="22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083035" y="6207872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202010" y="1440469"/>
            <a:ext cx="1153766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marR="0" lvl="1" indent="-27463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9.4. je v modelu zahrnut předpoklad sezónnosti, snížení reprodukce viru o dalších 20 % (časově odpovídá vyšší mobilitě ve venkovních prostorách a sníženému množství kontaktů ve vnitřních prostorách) a efekt vakcinace, kde je uvažován rychlý efekt – tedy dosažení účinné ochrany již s časovým odstupem od 1. dávky. </a:t>
            </a:r>
          </a:p>
        </p:txBody>
      </p:sp>
      <p:sp>
        <p:nvSpPr>
          <p:cNvPr id="6" name="Obdélník 5"/>
          <p:cNvSpPr/>
          <p:nvPr/>
        </p:nvSpPr>
        <p:spPr>
          <a:xfrm>
            <a:off x="202010" y="3852041"/>
            <a:ext cx="11471673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je pokračováním aktuálního pozorovaného trendu, ve kterém - i přes zřetelné rozvolnění opatření - epidemie stále klesá a na rozvolnění nereaguje. To je způsobeno jednak nastupujícím efektem sezónnosti a částečného nasycení clusterů (snížení základní reprodukce v změn chování populace, posílení imunity …) a zejména efektem vakcinace. Rostoucí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pulace zpomalování epidemie významně zesiluje a kompenzuje i možný dopad rozvolnění opatření. Pokud se tato stabilizovaná situace udrží, pak při nástupu letních prázdnin po 1.7. dojde k postupnému poklesu počtu nových případů až na minimum (srpen 2021)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ovšem kalkuluje s populačními průměry a s populačně zobecněnými daty: optimistická „průměrná“ predikce tedy nemůže vyloučit vznik lokálních ohnisek nebo velkých clusterů onemocnění u vnímavé části populace. </a:t>
            </a:r>
          </a:p>
        </p:txBody>
      </p:sp>
      <p:sp>
        <p:nvSpPr>
          <p:cNvPr id="9" name="TextovéPole 8"/>
          <p:cNvSpPr txBox="1"/>
          <p:nvPr/>
        </p:nvSpPr>
        <p:spPr>
          <a:xfrm>
            <a:off x="508007" y="2515943"/>
            <a:ext cx="1092566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ař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trvalé zpomalování epidemie bez rušivých vlivů, podpořené rychlým efektem vakcinace </a:t>
            </a:r>
          </a:p>
        </p:txBody>
      </p:sp>
    </p:spTree>
    <p:extLst>
      <p:ext uri="{BB962C8B-B14F-4D97-AF65-F5344CB8AC3E}">
        <p14:creationId xmlns:p14="http://schemas.microsoft.com/office/powerpoint/2010/main" val="35886940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>
            <a:extLst>
              <a:ext uri="{FF2B5EF4-FFF2-40B4-BE49-F238E27FC236}">
                <a16:creationId xmlns:a16="http://schemas.microsoft.com/office/drawing/2014/main" id="{84B11843-FBAD-462B-873C-2C14CE20BD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7617" y="1526240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 a predikce na léto 2021 - scénář I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trvalé zpomalování epidemie bez rušivých vlivů + rychlý efekt vakcinace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119209"/>
            <a:ext cx="3811184" cy="47243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 zvýšení základní reprodukce o 70 %</a:t>
            </a:r>
            <a:b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: snížení pracovních kontaktů na 20 %, školní kontakty na 0 %, snížení jiných kontaktů na 20 %, </a:t>
            </a:r>
            <a:r>
              <a:rPr kumimoji="0" lang="en-US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</a:t>
            </a:r>
            <a:r>
              <a:rPr kumimoji="0" lang="cs-CZ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kladní</a:t>
            </a: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produkce o 5 % (povinné nošení respirátorů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5.3. povinné testování, snížení reprodukce o dalších 5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2.4. dílčí uvolnění, kontakty na 3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9.4. předpoklad efektu sezónnosti, snížení reprodukce o dalších 20 % (časově odpovídá vyšší mobilitě ve venkovních prostorách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0.5. významnější uvolnění maloobchodu a škol, zvýšení všech kontaktů na 40 %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enzace efektem sezónnosti – snížení reprodukce o dalších 1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31.5. významnější uvolnění, zvýšení všech kontaktů na 7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.7. školní prázdniny, pracovní kontakty na 50 %, školní kontakty na 0 %, jiné kontakty na 10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842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36" cy="5553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8541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4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826388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4210421" y="2239226"/>
            <a:ext cx="361046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. pracuje se stabilními parametry epidemie z jara 2021 a nepředpokládá šíření nových variant viru. </a:t>
            </a:r>
          </a:p>
        </p:txBody>
      </p:sp>
    </p:spTree>
    <p:extLst>
      <p:ext uri="{BB962C8B-B14F-4D97-AF65-F5344CB8AC3E}">
        <p14:creationId xmlns:p14="http://schemas.microsoft.com/office/powerpoint/2010/main" val="20295884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02A1A8AE-F057-4B89-8D1B-B04FAD290B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4769" y="1531372"/>
            <a:ext cx="7250497" cy="3240000"/>
          </a:xfrm>
          <a:prstGeom prst="rect">
            <a:avLst/>
          </a:prstGeom>
        </p:spPr>
      </p:pic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119209"/>
            <a:ext cx="3811184" cy="47243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 zvýšení základní reprodukce o 70 %</a:t>
            </a:r>
            <a:b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: snížení pracovních kontaktů na 20 %, školní kontakty na 0 %, snížení jiných kontaktů na 20 %, </a:t>
            </a:r>
            <a:r>
              <a:rPr kumimoji="0" lang="en-US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</a:t>
            </a:r>
            <a:r>
              <a:rPr kumimoji="0" lang="cs-CZ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kladní</a:t>
            </a: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produkce o 5 % (povinné nošení respirátorů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5.3. povinné testování, snížení reprodukce o dalších 5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2.4. dílčí uvolnění, kontakty na 3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9.4. předpoklad efektu sezónnosti, snížení reprodukce o dalších 20 % (časově odpovídá vyšší mobilitě ve venkovních prostorách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0.5. významnější uvolnění maloobchodu a škol, zvýšení všech kontaktů na 40 %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enzace efektem sezónnosti – snížení reprodukce o dalších 1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31.5. významnější uvolnění, zvýšení všech kontaktů na 7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.7. školní prázdniny, pracovní kontakty na 50 %, školní kontakty na 0 %, jiné kontakty na 10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36" cy="5553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8541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4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843579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BD0E5DF3-E60B-49A4-B805-36CACC27C071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 DNY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 a predikce na léto 2021 - scénář I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trvalé zpomalování epidemie bez rušivých vlivů + rychlý efekt vakcinace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/>
          <p:cNvSpPr txBox="1"/>
          <p:nvPr/>
        </p:nvSpPr>
        <p:spPr>
          <a:xfrm>
            <a:off x="4210421" y="2239226"/>
            <a:ext cx="361046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. pracuje se stabilními parametry epidemie z jara 2021 a nepředpokládá šíření nových variant viru. </a:t>
            </a:r>
          </a:p>
        </p:txBody>
      </p:sp>
    </p:spTree>
    <p:extLst>
      <p:ext uri="{BB962C8B-B14F-4D97-AF65-F5344CB8AC3E}">
        <p14:creationId xmlns:p14="http://schemas.microsoft.com/office/powerpoint/2010/main" val="26017469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0" y="3843938"/>
            <a:ext cx="12048654" cy="2140532"/>
          </a:xfrm>
        </p:spPr>
        <p:txBody>
          <a:bodyPr>
            <a:normAutofit lnSpcReduction="10000"/>
          </a:bodyPr>
          <a:lstStyle/>
          <a:p>
            <a:r>
              <a:rPr lang="cs-CZ" sz="5200" b="1" dirty="0"/>
              <a:t>Vývoj epidemie v populačních datech</a:t>
            </a:r>
          </a:p>
          <a:p>
            <a:r>
              <a:rPr lang="cs-CZ" sz="4000" i="1" dirty="0"/>
              <a:t>Modely doplněné o reálné počty zachycených případů</a:t>
            </a:r>
          </a:p>
          <a:p>
            <a:r>
              <a:rPr lang="cs-CZ" sz="4000" i="1" dirty="0"/>
              <a:t>(uzavřené hodnocení do </a:t>
            </a:r>
            <a:r>
              <a:rPr lang="cs-CZ" sz="4000" i="1" dirty="0" smtClean="0"/>
              <a:t>5. </a:t>
            </a:r>
            <a:r>
              <a:rPr lang="cs-CZ" sz="4000" i="1" dirty="0"/>
              <a:t>7. 2021)</a:t>
            </a:r>
          </a:p>
        </p:txBody>
      </p:sp>
    </p:spTree>
    <p:extLst>
      <p:ext uri="{BB962C8B-B14F-4D97-AF65-F5344CB8AC3E}">
        <p14:creationId xmlns:p14="http://schemas.microsoft.com/office/powerpoint/2010/main" val="22297398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Šipka dolů 1"/>
          <p:cNvSpPr/>
          <p:nvPr/>
        </p:nvSpPr>
        <p:spPr>
          <a:xfrm>
            <a:off x="5083035" y="3351445"/>
            <a:ext cx="163528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á kalibrace modelu z 14.6. 2021 pokrývá predikce pro období června  - srpna 2021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ové scénáře pracují s potenciálním efektem rozvolňování, s faktorem sezónnosti, který ovlivňuje četnost i rizikovost kontaktů, a zejména s efektem postupující vakcinace dospělé populace.</a:t>
            </a:r>
            <a:endParaRPr kumimoji="0" lang="cs-CZ" sz="22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24380" y="6264398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202010" y="1440469"/>
            <a:ext cx="1153766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marR="0" lvl="1" indent="-27463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9.4. je v modelu zahrnut předpoklad sezónnosti, snížení reprodukce viru o dalších 20 % (časově odpovídá vyšší mobilitě ve venkovních prostorách a sníženému množství kontaktů ve vnitřních prostorách) a efekt vakcinace, kde je uvažován rychlý efekt – tedy dosažení účinné ochrany již s časovým odstupem od 1. dávky. </a:t>
            </a:r>
          </a:p>
        </p:txBody>
      </p:sp>
      <p:sp>
        <p:nvSpPr>
          <p:cNvPr id="6" name="Obdélník 5"/>
          <p:cNvSpPr/>
          <p:nvPr/>
        </p:nvSpPr>
        <p:spPr>
          <a:xfrm>
            <a:off x="202010" y="3920984"/>
            <a:ext cx="11471673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modelově předpokládá po 20.6. postupné šíření nové varianty viru, která by vedla až k 70% ztrátě ochrany dané očkováním (hodnota vychází z faktu, že v létě lze stále očekávat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pulace většinou pouze 1. dávkou a její účinnost například na tzv.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ta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taci viru je dle literatury cca 30%). Nástup „únikové“ mutace tak v modelu snižuje komponentu „V“ a postupně v čase narůstající část vakcinovaných vrací zpět mezi vnímavé jedince. Ačkoli model kalkuluje s velmi vysokou ztrátou ochrany (až 70%), dopad postupného šíření nové varianty by byl pozvolný a během léta by s vysokou pravděpodobností nevedl k prudkému nárůstu počtu nově nakažených osob.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 avšak nezvyšuje u nové varianty základní reprodukci. Pokud by se nová varianta šířila podstatně rychleji než stávající převládající forma viru, byl by nárůst nákazy v populaci rychlejší a mohl by se projevit již během léta. </a:t>
            </a:r>
          </a:p>
        </p:txBody>
      </p:sp>
      <p:sp>
        <p:nvSpPr>
          <p:cNvPr id="9" name="TextovéPole 8"/>
          <p:cNvSpPr txBox="1"/>
          <p:nvPr/>
        </p:nvSpPr>
        <p:spPr>
          <a:xfrm>
            <a:off x="313663" y="2472901"/>
            <a:ext cx="1116567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ař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I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změna situace daná postupným šířením nové varianty viru unikající částečně vakcinaci </a:t>
            </a:r>
          </a:p>
        </p:txBody>
      </p:sp>
    </p:spTree>
    <p:extLst>
      <p:ext uri="{BB962C8B-B14F-4D97-AF65-F5344CB8AC3E}">
        <p14:creationId xmlns:p14="http://schemas.microsoft.com/office/powerpoint/2010/main" val="302951251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9A744E80-0E72-463F-902D-1F33948A11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7668" y="1529113"/>
            <a:ext cx="7250497" cy="3240000"/>
          </a:xfrm>
          <a:prstGeom prst="rect">
            <a:avLst/>
          </a:prstGeom>
        </p:spPr>
      </p:pic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119209"/>
            <a:ext cx="3811184" cy="47243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 zvýšení základní reprodukce o 70 %</a:t>
            </a:r>
            <a:b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: snížení pracovních kontaktů na 20 %, školní kontakty na 0 %, snížení jiných kontaktů na 20 %, </a:t>
            </a:r>
            <a:r>
              <a:rPr kumimoji="0" lang="en-US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</a:t>
            </a:r>
            <a:r>
              <a:rPr kumimoji="0" lang="cs-CZ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kladní</a:t>
            </a: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produkce o 5 % (povinné nošení respirátorů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5.3. povinné testování, snížení reprodukce o dalších 5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2.4. dílčí uvolnění, kontakty na 3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9.4. předpoklad efektu sezónnosti, snížení reprodukce o dalších 20 % (časově odpovídá vyšší mobilitě ve venkovních prostorách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0.5. významnější uvolnění maloobchodu a škol, zvýšení všech kontaktů na 40 %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enzace efektem sezónnosti – snížení reprodukce o dalších 1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31.5. významnější uvolnění, zvýšení všech kontaktů na 7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.7. školní prázdniny, pracovní kontakty na 50 %, školní kontakty na 0 %, jiné kontakty na 10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842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36" cy="5553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8541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4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826388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 a predikce na léto 2021 - scénář II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šíření varianty viru unikající ochrannému vlivu očkování 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ovéPole 18"/>
          <p:cNvSpPr txBox="1"/>
          <p:nvPr/>
        </p:nvSpPr>
        <p:spPr>
          <a:xfrm>
            <a:off x="3685880" y="2277505"/>
            <a:ext cx="4135007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. kalkuluje s rizikem postupného šíření nové varianty viru (modelově po 20.6.) vedoucí až ke ztrátě 70% ochrany dané očkováním.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 nové varianty viru není v létě předpokládána změna bazální reprodukce. </a:t>
            </a:r>
          </a:p>
        </p:txBody>
      </p:sp>
    </p:spTree>
    <p:extLst>
      <p:ext uri="{BB962C8B-B14F-4D97-AF65-F5344CB8AC3E}">
        <p14:creationId xmlns:p14="http://schemas.microsoft.com/office/powerpoint/2010/main" val="310503000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Šipka dolů 1"/>
          <p:cNvSpPr/>
          <p:nvPr/>
        </p:nvSpPr>
        <p:spPr>
          <a:xfrm>
            <a:off x="4979340" y="3637557"/>
            <a:ext cx="163528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á kalibrace modelu z 14.6. 2021 pokrývá predikce pro období června  - srpna 2021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ové scénáře pracují s potenciálním efektem rozvolňování, s faktorem sezónnosti, který ovlivňuje četnost i rizikovost kontaktů, a zejména s efektem postupující vakcinace dospělé populace.</a:t>
            </a:r>
            <a:endParaRPr kumimoji="0" lang="cs-CZ" sz="22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083035" y="6264790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202010" y="1440469"/>
            <a:ext cx="1153766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marR="0" lvl="1" indent="-27463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9.4. je v modelu zahrnut předpoklad sezónnosti, snížení reprodukce viru o dalších 20 % (časově odpovídá vyšší mobilitě ve venkovních prostorách a sníženému množství kontaktů ve vnitřních prostorách) a efekt vakcinace, kde je uvažován rychlý efekt – tedy dosažení účinné ochrany již s časovým odstupem od 1. dávky. </a:t>
            </a:r>
          </a:p>
        </p:txBody>
      </p:sp>
      <p:sp>
        <p:nvSpPr>
          <p:cNvPr id="6" name="Obdélník 5"/>
          <p:cNvSpPr/>
          <p:nvPr/>
        </p:nvSpPr>
        <p:spPr>
          <a:xfrm>
            <a:off x="202010" y="4165077"/>
            <a:ext cx="11471673" cy="1938992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ý scénář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ově předpokládá po 20.6. postupné šíření nové varianty viru, která by vedla až k 70% ztrátě ochrany dané očkováním (hodnota vychází z faktu, že v létě lze stále očekávat </a:t>
            </a:r>
            <a:r>
              <a:rPr kumimoji="0" lang="cs-CZ" sz="2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pulace většinou pouze 1. dávkou a její účinnost například na tzv. </a:t>
            </a:r>
            <a:r>
              <a:rPr kumimoji="0" lang="cs-CZ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ta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taci viru je dle literatury cca 30%). Nástup „únikové“ mutace tak v modelu snižuje komponentu „V“ a postupně v čase narůstající část vakcinovaných vrací zpět mezi vnímavé jedince.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I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zahrnuje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20 %. </a:t>
            </a:r>
            <a:b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tomto případě již dochází k viditelnému nárůstu počtu nově pozitivních během letních měsíců.</a:t>
            </a:r>
          </a:p>
        </p:txBody>
      </p:sp>
      <p:sp>
        <p:nvSpPr>
          <p:cNvPr id="9" name="TextovéPole 8"/>
          <p:cNvSpPr txBox="1"/>
          <p:nvPr/>
        </p:nvSpPr>
        <p:spPr>
          <a:xfrm>
            <a:off x="313663" y="2472901"/>
            <a:ext cx="1116567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ař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I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změna situace daná postupným šířením nové varianty viru unikající částečně vakcinaci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 z</a:t>
            </a:r>
            <a:r>
              <a:rPr kumimoji="0" lang="cs-CZ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roveň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ykazující zvýšenou </a:t>
            </a: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nosnost (nárůst bazální reprodukce)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444467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935781F7-5581-40B0-A141-B5EEF3220F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6657" y="1528819"/>
            <a:ext cx="7250497" cy="3240000"/>
          </a:xfrm>
          <a:prstGeom prst="rect">
            <a:avLst/>
          </a:prstGeom>
        </p:spPr>
      </p:pic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119209"/>
            <a:ext cx="3811184" cy="47243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 zvýšení základní reprodukce o 70 %</a:t>
            </a:r>
            <a:b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: snížení pracovních kontaktů na 20 %, školní kontakty na 0 %, snížení jiných kontaktů na 20 %, </a:t>
            </a:r>
            <a:r>
              <a:rPr kumimoji="0" lang="en-US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</a:t>
            </a:r>
            <a:r>
              <a:rPr kumimoji="0" lang="cs-CZ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kladní</a:t>
            </a: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produkce o 5 % (povinné nošení respirátorů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5.3. povinné testování, snížení reprodukce o dalších 5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2.4. dílčí uvolnění, kontakty na 3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9.4. předpoklad efektu sezónnosti, snížení reprodukce o dalších 20 % (časově odpovídá vyšší mobilitě ve venkovních prostorách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0.5. významnější uvolnění maloobchodu a škol, zvýšení všech kontaktů na 40 %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enzace efektem sezónnosti – snížení reprodukce o dalších 1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31.5. významnější uvolnění, zvýšení všech kontaktů na 7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.7. školní prázdniny, pracovní kontakty na 50 %, školní kontakty na 0 %, jiné kontakty na 10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842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36" cy="5553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8541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4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826388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 a predikce na léto 2021 - scénář III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šíření varianty viru unikající ochrannému vlivu očkování 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ovéPole 18"/>
          <p:cNvSpPr txBox="1"/>
          <p:nvPr/>
        </p:nvSpPr>
        <p:spPr>
          <a:xfrm>
            <a:off x="3685880" y="2277505"/>
            <a:ext cx="4135007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I. kalkuluje s rizikem postupného šíření nové varianty viru (modelově po 20.6.) vedoucí až ke ztrátě 70% ochrany dané očkováním.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tomto scénáři se předpokládá zvýšení základní reprodukce </a:t>
            </a: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u o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.</a:t>
            </a:r>
          </a:p>
        </p:txBody>
      </p:sp>
    </p:spTree>
    <p:extLst>
      <p:ext uri="{BB962C8B-B14F-4D97-AF65-F5344CB8AC3E}">
        <p14:creationId xmlns:p14="http://schemas.microsoft.com/office/powerpoint/2010/main" val="80880708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>
            <a:extLst>
              <a:ext uri="{FF2B5EF4-FFF2-40B4-BE49-F238E27FC236}">
                <a16:creationId xmlns:a16="http://schemas.microsoft.com/office/drawing/2014/main" id="{C9CD87E1-26DB-44DB-8B29-23B662244B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3889" y="1126773"/>
            <a:ext cx="9002268" cy="3906012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FA62F1D2-ED3B-4B05-8AB5-7ACCECEFF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099" y="2"/>
            <a:ext cx="7976680" cy="576000"/>
          </a:xfrm>
        </p:spPr>
        <p:txBody>
          <a:bodyPr/>
          <a:lstStyle/>
          <a:p>
            <a:r>
              <a:rPr lang="cs-CZ" sz="1800" dirty="0"/>
              <a:t>Zpomalení šíření infekce v důsledku snížení počtu vnímavých jedinců</a:t>
            </a:r>
          </a:p>
        </p:txBody>
      </p:sp>
      <p:graphicFrame>
        <p:nvGraphicFramePr>
          <p:cNvPr id="5" name="Tabulka 10">
            <a:extLst>
              <a:ext uri="{FF2B5EF4-FFF2-40B4-BE49-F238E27FC236}">
                <a16:creationId xmlns:a16="http://schemas.microsoft.com/office/drawing/2014/main" id="{15DD0D57-A810-45FC-8E29-0146AAE4DCEB}"/>
              </a:ext>
            </a:extLst>
          </p:cNvPr>
          <p:cNvGraphicFramePr>
            <a:graphicFrameLocks noGrp="1"/>
          </p:cNvGraphicFramePr>
          <p:nvPr/>
        </p:nvGraphicFramePr>
        <p:xfrm>
          <a:off x="1506886" y="4379686"/>
          <a:ext cx="8287972" cy="2750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1998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2413365606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2954741850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3623388293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červene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rp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904F1CD9-2EB1-4F23-ABD5-6313403E78F1}"/>
              </a:ext>
            </a:extLst>
          </p:cNvPr>
          <p:cNvSpPr txBox="1"/>
          <p:nvPr/>
        </p:nvSpPr>
        <p:spPr>
          <a:xfrm>
            <a:off x="7966771" y="4695495"/>
            <a:ext cx="34848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kcinovaní včetně v minulosti infikovaných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861F783C-7F71-4433-AE26-459A616AFA15}"/>
              </a:ext>
            </a:extLst>
          </p:cNvPr>
          <p:cNvSpPr txBox="1"/>
          <p:nvPr/>
        </p:nvSpPr>
        <p:spPr>
          <a:xfrm>
            <a:off x="943889" y="616795"/>
            <a:ext cx="9357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ová predikce stavů v populaci v čase kalkulující </a:t>
            </a:r>
            <a:b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rychlým postupem vakcinace (optimistická projekce)</a:t>
            </a:r>
          </a:p>
        </p:txBody>
      </p:sp>
      <p:sp>
        <p:nvSpPr>
          <p:cNvPr id="9" name="TextovéPole 8"/>
          <p:cNvSpPr txBox="1"/>
          <p:nvPr/>
        </p:nvSpPr>
        <p:spPr>
          <a:xfrm>
            <a:off x="175099" y="5013287"/>
            <a:ext cx="117121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při optimistických scénářích modelů je nutné v průběhu léta počítat s cca 25% podílem populace, která je vnímavá k infekci. Riziko částečného zhoršení vývoje tedy stále není nulové, zejména s ohledem na možné zavlečení nových variant viru. Nelze vyloučit vznik potenciálně rizikových ohnisek nebo větších clusterů. Stávající vývoj to nicméně nepotvrzuje a trend poklesu epidemie neindikuje žádné zhoršení. Postupující vakcinace také neustále snižuje počet citlivých osob, nyní již i v relativně mladých věkových kategoriích. Očkování je účinnou ochranou nejen proti nákaze samotné, ale zejména proti těžkému průběhu onemocnění – z tohoto důvodu začíná být situace velmi stabilní i v klesající zátěži nemocnic. </a:t>
            </a:r>
          </a:p>
        </p:txBody>
      </p:sp>
    </p:spTree>
    <p:extLst>
      <p:ext uri="{BB962C8B-B14F-4D97-AF65-F5344CB8AC3E}">
        <p14:creationId xmlns:p14="http://schemas.microsoft.com/office/powerpoint/2010/main" val="104252867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140532"/>
          </a:xfrm>
        </p:spPr>
        <p:txBody>
          <a:bodyPr>
            <a:normAutofit/>
          </a:bodyPr>
          <a:lstStyle/>
          <a:p>
            <a:r>
              <a:rPr lang="cs-CZ" sz="5200" b="1" dirty="0"/>
              <a:t>Krátkodobé predikce zátěže </a:t>
            </a:r>
            <a:r>
              <a:rPr lang="cs-CZ" sz="5200" b="1" dirty="0" smtClean="0"/>
              <a:t>nemocnic</a:t>
            </a:r>
            <a:endParaRPr lang="cs-CZ" sz="5200" b="1" dirty="0"/>
          </a:p>
        </p:txBody>
      </p:sp>
    </p:spTree>
    <p:extLst>
      <p:ext uri="{BB962C8B-B14F-4D97-AF65-F5344CB8AC3E}">
        <p14:creationId xmlns:p14="http://schemas.microsoft.com/office/powerpoint/2010/main" val="276807159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le 33">
            <a:extLst>
              <a:ext uri="{FF2B5EF4-FFF2-40B4-BE49-F238E27FC236}">
                <a16:creationId xmlns:a16="http://schemas.microsoft.com/office/drawing/2014/main" id="{4BFBB45A-E572-4BFD-AE55-F4B4A52ED588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838200" y="3088673"/>
          <a:ext cx="9064944" cy="3505200"/>
        </p:xfrm>
        <a:graphic>
          <a:graphicData uri="http://schemas.openxmlformats.org/drawingml/2006/table">
            <a:tbl>
              <a:tblPr/>
              <a:tblGrid>
                <a:gridCol w="7173873">
                  <a:extLst>
                    <a:ext uri="{9D8B030D-6E8A-4147-A177-3AD203B41FA5}">
                      <a16:colId xmlns:a16="http://schemas.microsoft.com/office/drawing/2014/main" val="1918387992"/>
                    </a:ext>
                  </a:extLst>
                </a:gridCol>
                <a:gridCol w="1891071">
                  <a:extLst>
                    <a:ext uri="{9D8B030D-6E8A-4147-A177-3AD203B41FA5}">
                      <a16:colId xmlns:a16="http://schemas.microsoft.com/office/drawing/2014/main" val="1639439843"/>
                    </a:ext>
                  </a:extLst>
                </a:gridCol>
              </a:tblGrid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 v nemocnici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9789772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JIP: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122535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UPV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193534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ECMO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537972"/>
                  </a:ext>
                </a:extLst>
              </a:tr>
            </a:tbl>
          </a:graphicData>
        </a:graphic>
      </p:graphicFrame>
      <p:sp>
        <p:nvSpPr>
          <p:cNvPr id="14" name="Šipka dolů 1">
            <a:extLst>
              <a:ext uri="{FF2B5EF4-FFF2-40B4-BE49-F238E27FC236}">
                <a16:creationId xmlns:a16="http://schemas.microsoft.com/office/drawing/2014/main" id="{A5C9A1A8-BBC8-4FF4-AD82-DDA4CACE9EF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144651" y="1892081"/>
            <a:ext cx="1588655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E9DBC55-6F59-48E3-A589-778C43079A8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77008" y="334108"/>
            <a:ext cx="11131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uální 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</a:t>
            </a: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ých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acientů klesají</a:t>
            </a:r>
            <a:b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roste i dostupná kapacita lůžek, včetně JIP</a:t>
            </a:r>
            <a:endParaRPr kumimoji="0" lang="cs-CZ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Šipka doprava 5">
            <a:extLst>
              <a:ext uri="{FF2B5EF4-FFF2-40B4-BE49-F238E27FC236}">
                <a16:creationId xmlns:a16="http://schemas.microsoft.com/office/drawing/2014/main" id="{CD8BA9FB-4066-4E61-AE34-E198D0941C5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5400000">
            <a:off x="10031632" y="336911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Šipka doprava 6">
            <a:extLst>
              <a:ext uri="{FF2B5EF4-FFF2-40B4-BE49-F238E27FC236}">
                <a16:creationId xmlns:a16="http://schemas.microsoft.com/office/drawing/2014/main" id="{D983377B-AC20-4574-BD23-CA84E0E4DF0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400000">
            <a:off x="10031632" y="4224634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Šipka doprava 7">
            <a:extLst>
              <a:ext uri="{FF2B5EF4-FFF2-40B4-BE49-F238E27FC236}">
                <a16:creationId xmlns:a16="http://schemas.microsoft.com/office/drawing/2014/main" id="{86307693-B5CE-4AC1-B75A-86348424077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5400000">
            <a:off x="10031632" y="5084257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Šipka doprava 7">
            <a:extLst>
              <a:ext uri="{FF2B5EF4-FFF2-40B4-BE49-F238E27FC236}">
                <a16:creationId xmlns:a16="http://schemas.microsoft.com/office/drawing/2014/main" id="{0677504D-CDBB-4893-BBA5-A6A3B84D309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 rot="5400000">
            <a:off x="10019398" y="594388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0" name="Tabulka 4">
            <a:extLst>
              <a:ext uri="{FF2B5EF4-FFF2-40B4-BE49-F238E27FC236}">
                <a16:creationId xmlns:a16="http://schemas.microsoft.com/office/drawing/2014/main" id="{1E8D0A1B-6A63-4C9A-A9BB-1C42B44AAAEF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7737231" y="2713132"/>
          <a:ext cx="307730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846">
                  <a:extLst>
                    <a:ext uri="{9D8B030D-6E8A-4147-A177-3AD203B41FA5}">
                      <a16:colId xmlns:a16="http://schemas.microsoft.com/office/drawing/2014/main" val="3701563452"/>
                    </a:ext>
                  </a:extLst>
                </a:gridCol>
                <a:gridCol w="1758462">
                  <a:extLst>
                    <a:ext uri="{9D8B030D-6E8A-4147-A177-3AD203B41FA5}">
                      <a16:colId xmlns:a16="http://schemas.microsoft.com/office/drawing/2014/main" val="21215855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400" dirty="0"/>
                        <a:t>Stav k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5.07.2021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265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4719845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Skupina 15">
            <a:extLst>
              <a:ext uri="{FF2B5EF4-FFF2-40B4-BE49-F238E27FC236}">
                <a16:creationId xmlns:a16="http://schemas.microsoft.com/office/drawing/2014/main" id="{062C3CA8-DA87-4E97-B69D-5720A7AD9356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10221831" y="5383605"/>
            <a:ext cx="1900937" cy="954107"/>
            <a:chOff x="10258697" y="3526984"/>
            <a:chExt cx="1900937" cy="954107"/>
          </a:xfrm>
        </p:grpSpPr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23249EF9-C64A-456D-B632-2C9436A37EA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7E4E1924-AC32-411A-A5D1-EE76DDB7B21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E13BCD19-05A8-403C-AD6D-3D97387D01C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Obdélník 21">
              <a:extLst>
                <a:ext uri="{FF2B5EF4-FFF2-40B4-BE49-F238E27FC236}">
                  <a16:creationId xmlns:a16="http://schemas.microsoft.com/office/drawing/2014/main" id="{8C9A28E7-22B5-4D26-91FB-8CCE53C1579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TextovéPole 28">
              <a:extLst>
                <a:ext uri="{FF2B5EF4-FFF2-40B4-BE49-F238E27FC236}">
                  <a16:creationId xmlns:a16="http://schemas.microsoft.com/office/drawing/2014/main" id="{788D41A6-2250-4834-A7DA-E75B39DA843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1,1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9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" name="TextBox 14">
            <a:extLst>
              <a:ext uri="{FF2B5EF4-FFF2-40B4-BE49-F238E27FC236}">
                <a16:creationId xmlns:a16="http://schemas.microsoft.com/office/drawing/2014/main" id="{760EFC65-F872-4D6D-B067-0095C7E16FD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140141" y="4287824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A28CE385-DB60-4D3F-962C-12E575560C86}"/>
              </a:ext>
            </a:extLst>
          </p:cNvPr>
          <p:cNvSpPr txBox="1"/>
          <p:nvPr/>
        </p:nvSpPr>
        <p:spPr>
          <a:xfrm>
            <a:off x="381739" y="94911"/>
            <a:ext cx="11375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sp>
        <p:nvSpPr>
          <p:cNvPr id="35" name="Zahnutá šipka nahoru 25">
            <a:extLst>
              <a:ext uri="{FF2B5EF4-FFF2-40B4-BE49-F238E27FC236}">
                <a16:creationId xmlns:a16="http://schemas.microsoft.com/office/drawing/2014/main" id="{AA9E8537-26FC-4DC2-81BD-E6E1FFE8335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Zahnutá šipka nahoru 25">
            <a:extLst>
              <a:ext uri="{FF2B5EF4-FFF2-40B4-BE49-F238E27FC236}">
                <a16:creationId xmlns:a16="http://schemas.microsoft.com/office/drawing/2014/main" id="{CFB7AB9A-ACC6-4042-8FFB-21E641F4D6E1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Zahnutá šipka nahoru 25">
            <a:extLst>
              <a:ext uri="{FF2B5EF4-FFF2-40B4-BE49-F238E27FC236}">
                <a16:creationId xmlns:a16="http://schemas.microsoft.com/office/drawing/2014/main" id="{5A789794-65A4-4309-B518-BD576D1DFF2D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TextBox 9">
            <a:extLst>
              <a:ext uri="{FF2B5EF4-FFF2-40B4-BE49-F238E27FC236}">
                <a16:creationId xmlns:a16="http://schemas.microsoft.com/office/drawing/2014/main" id="{4282D650-1779-4B4A-9112-9A0676A08ED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185819" y="4879303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  <p:sp>
        <p:nvSpPr>
          <p:cNvPr id="40" name="Šipka dolů 2">
            <a:extLst>
              <a:ext uri="{FF2B5EF4-FFF2-40B4-BE49-F238E27FC236}">
                <a16:creationId xmlns:a16="http://schemas.microsoft.com/office/drawing/2014/main" id="{F69C8313-D0B8-4761-A428-8EBCF04D194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0550553" y="4301890"/>
            <a:ext cx="737954" cy="44993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6">
            <a:extLst>
              <a:ext uri="{FF2B5EF4-FFF2-40B4-BE49-F238E27FC236}">
                <a16:creationId xmlns:a16="http://schemas.microsoft.com/office/drawing/2014/main" id="{E1A023C5-0E65-4C4B-B970-6295E84FED9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883692" y="2678000"/>
            <a:ext cx="5646630" cy="1385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vé modely jsou zpracovány pro více možných scénářů vývoje, včetně rizikového trendu růstu epidemie v populaci při R 1,1. I tento scénář ale ukazuje na stabilitu stávající situace danou očkováním – predikované nárůsty hospitalizací nejsou prudké. Nejrizikovějším faktorem, který by tyto predikce mohl narušit, by bylo šíření nové mutace viru – zejména forem rezistentních k vakcinaci.  </a:t>
            </a:r>
          </a:p>
        </p:txBody>
      </p:sp>
      <p:graphicFrame>
        <p:nvGraphicFramePr>
          <p:cNvPr id="25" name="Chart 11">
            <a:extLst>
              <a:ext uri="{FF2B5EF4-FFF2-40B4-BE49-F238E27FC236}">
                <a16:creationId xmlns:a16="http://schemas.microsoft.com/office/drawing/2014/main" id="{174C1A8E-7F52-4994-A639-09375556CB69}"/>
              </a:ext>
            </a:extLst>
          </p:cNvPr>
          <p:cNvGraphicFramePr/>
          <p:nvPr>
            <p:custDataLst>
              <p:tags r:id="rId7"/>
            </p:custDataLst>
          </p:nvPr>
        </p:nvGraphicFramePr>
        <p:xfrm>
          <a:off x="386622" y="1863980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8" name="Table 1">
            <a:extLst>
              <a:ext uri="{FF2B5EF4-FFF2-40B4-BE49-F238E27FC236}">
                <a16:creationId xmlns:a16="http://schemas.microsoft.com/office/drawing/2014/main" id="{06EBA6F7-666B-4568-AE41-F2FE4C55B647}"/>
              </a:ext>
            </a:extLst>
          </p:cNvPr>
          <p:cNvGraphicFramePr>
            <a:graphicFrameLocks noGrp="1"/>
          </p:cNvGraphicFramePr>
          <p:nvPr/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. 5.–5. 6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6.–12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. 6.–19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. 6.–26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7. 6.–3. 7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4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8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případů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3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7,5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0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6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1076122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Box 14">
            <a:extLst>
              <a:ext uri="{FF2B5EF4-FFF2-40B4-BE49-F238E27FC236}">
                <a16:creationId xmlns:a16="http://schemas.microsoft.com/office/drawing/2014/main" id="{F5E004D2-9D44-44B4-8960-D166A4514BB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83075" y="3867155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6CA7DF48-5668-4739-BC4A-048569A17284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Zahnutá šipka nahoru 25">
            <a:extLst>
              <a:ext uri="{FF2B5EF4-FFF2-40B4-BE49-F238E27FC236}">
                <a16:creationId xmlns:a16="http://schemas.microsoft.com/office/drawing/2014/main" id="{A24F0A24-6B61-433B-964F-D328AFF81D2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Zahnutá šipka nahoru 25">
            <a:extLst>
              <a:ext uri="{FF2B5EF4-FFF2-40B4-BE49-F238E27FC236}">
                <a16:creationId xmlns:a16="http://schemas.microsoft.com/office/drawing/2014/main" id="{2A1B3F57-107E-47D3-8795-7C830FD26434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Zahnutá šipka nahoru 25">
            <a:extLst>
              <a:ext uri="{FF2B5EF4-FFF2-40B4-BE49-F238E27FC236}">
                <a16:creationId xmlns:a16="http://schemas.microsoft.com/office/drawing/2014/main" id="{5C6DEBD8-9AD4-43F6-BAF2-4ADB19B0172D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75" name="Skupina 74">
            <a:extLst>
              <a:ext uri="{FF2B5EF4-FFF2-40B4-BE49-F238E27FC236}">
                <a16:creationId xmlns:a16="http://schemas.microsoft.com/office/drawing/2014/main" id="{5BD2CE0C-986E-4EA1-B24D-8BC09ECF81F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221831" y="5383605"/>
            <a:ext cx="1900937" cy="954107"/>
            <a:chOff x="10258697" y="3526984"/>
            <a:chExt cx="1900937" cy="954107"/>
          </a:xfrm>
        </p:grpSpPr>
        <p:cxnSp>
          <p:nvCxnSpPr>
            <p:cNvPr id="76" name="Přímá spojnice 75">
              <a:extLst>
                <a:ext uri="{FF2B5EF4-FFF2-40B4-BE49-F238E27FC236}">
                  <a16:creationId xmlns:a16="http://schemas.microsoft.com/office/drawing/2014/main" id="{35C539A6-7161-48EF-819D-8C0F76CEE56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Přímá spojnice 76">
              <a:extLst>
                <a:ext uri="{FF2B5EF4-FFF2-40B4-BE49-F238E27FC236}">
                  <a16:creationId xmlns:a16="http://schemas.microsoft.com/office/drawing/2014/main" id="{C79B9218-54DE-4932-8ACF-725F4EF176E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Přímá spojnice 77">
              <a:extLst>
                <a:ext uri="{FF2B5EF4-FFF2-40B4-BE49-F238E27FC236}">
                  <a16:creationId xmlns:a16="http://schemas.microsoft.com/office/drawing/2014/main" id="{F69B3C81-6B4A-4515-92E4-9FF7F724866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Obdélník 78">
              <a:extLst>
                <a:ext uri="{FF2B5EF4-FFF2-40B4-BE49-F238E27FC236}">
                  <a16:creationId xmlns:a16="http://schemas.microsoft.com/office/drawing/2014/main" id="{9A7AF79E-F1A7-4523-870E-A69E0C61456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TextovéPole 28">
              <a:extLst>
                <a:ext uri="{FF2B5EF4-FFF2-40B4-BE49-F238E27FC236}">
                  <a16:creationId xmlns:a16="http://schemas.microsoft.com/office/drawing/2014/main" id="{ABA1FD7A-A3A2-4808-9C02-1C847C115F2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1,1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9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1" name="TextBox 9">
            <a:extLst>
              <a:ext uri="{FF2B5EF4-FFF2-40B4-BE49-F238E27FC236}">
                <a16:creationId xmlns:a16="http://schemas.microsoft.com/office/drawing/2014/main" id="{3E8EA83A-A787-4C7C-B67D-3A97AC3E7B5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185819" y="4879303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  <p:sp>
        <p:nvSpPr>
          <p:cNvPr id="82" name="Šipka dolů 2">
            <a:extLst>
              <a:ext uri="{FF2B5EF4-FFF2-40B4-BE49-F238E27FC236}">
                <a16:creationId xmlns:a16="http://schemas.microsoft.com/office/drawing/2014/main" id="{E81A9351-5103-44A9-9639-79CC42052B2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0550553" y="4301890"/>
            <a:ext cx="737954" cy="44993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51CEC5CF-D8D3-4CE7-A9D2-5642C06B4DC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437486" y="2781789"/>
            <a:ext cx="5544927" cy="1385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vé modely jsou zpracovány pro více možných scénářů vývoje, včetně rizikového trendu růstu epidemie v populaci při R 1,1. I tento scénář ale ukazuje na stabilitu stávající situace danou očkováním – predikované nárůsty hospitalizací nejsou prudké. Nejrizikovějším faktorem, který by tyto predikce mohl narušit, by bylo šíření nové mutace viru – zejména forem rezistentních k vakcinaci.  </a:t>
            </a:r>
          </a:p>
        </p:txBody>
      </p:sp>
      <p:graphicFrame>
        <p:nvGraphicFramePr>
          <p:cNvPr id="18" name="Chart 11">
            <a:extLst>
              <a:ext uri="{FF2B5EF4-FFF2-40B4-BE49-F238E27FC236}">
                <a16:creationId xmlns:a16="http://schemas.microsoft.com/office/drawing/2014/main" id="{D3C65115-4591-48D1-AFB4-B844891B6C99}"/>
              </a:ext>
            </a:extLst>
          </p:cNvPr>
          <p:cNvGraphicFramePr/>
          <p:nvPr>
            <p:custDataLst>
              <p:tags r:id="rId7"/>
            </p:custDataLst>
          </p:nvPr>
        </p:nvGraphicFramePr>
        <p:xfrm>
          <a:off x="557348" y="1855142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9" name="Table 42">
            <a:extLst>
              <a:ext uri="{FF2B5EF4-FFF2-40B4-BE49-F238E27FC236}">
                <a16:creationId xmlns:a16="http://schemas.microsoft.com/office/drawing/2014/main" id="{15C98162-AEF9-4373-8073-792243895FB8}"/>
              </a:ext>
            </a:extLst>
          </p:cNvPr>
          <p:cNvGraphicFramePr>
            <a:graphicFrameLocks noGrp="1"/>
          </p:cNvGraphicFramePr>
          <p:nvPr/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. 5.–5. 6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6.–12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. 6.–19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. 6.–26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7. 6.–3. 7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3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8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8,5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7,5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028585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851703" y="2651451"/>
            <a:ext cx="2923309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azená akutní lůžka C+ pacienty 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2.07.2021 00:18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</a:t>
            </a:r>
          </a:p>
        </p:txBody>
      </p:sp>
      <p:graphicFrame>
        <p:nvGraphicFramePr>
          <p:cNvPr id="9" name="Tabulka 8"/>
          <p:cNvGraphicFramePr>
            <a:graphicFrameLocks noGrp="1"/>
          </p:cNvGraphicFramePr>
          <p:nvPr/>
        </p:nvGraphicFramePr>
        <p:xfrm>
          <a:off x="332819" y="1014992"/>
          <a:ext cx="8652809" cy="5358375"/>
        </p:xfrm>
        <a:graphic>
          <a:graphicData uri="http://schemas.openxmlformats.org/drawingml/2006/table">
            <a:tbl>
              <a:tblPr/>
              <a:tblGrid>
                <a:gridCol w="1891394">
                  <a:extLst>
                    <a:ext uri="{9D8B030D-6E8A-4147-A177-3AD203B41FA5}">
                      <a16:colId xmlns:a16="http://schemas.microsoft.com/office/drawing/2014/main" val="3719320320"/>
                    </a:ext>
                  </a:extLst>
                </a:gridCol>
                <a:gridCol w="1157997">
                  <a:extLst>
                    <a:ext uri="{9D8B030D-6E8A-4147-A177-3AD203B41FA5}">
                      <a16:colId xmlns:a16="http://schemas.microsoft.com/office/drawing/2014/main" val="3884294200"/>
                    </a:ext>
                  </a:extLst>
                </a:gridCol>
                <a:gridCol w="1071146">
                  <a:extLst>
                    <a:ext uri="{9D8B030D-6E8A-4147-A177-3AD203B41FA5}">
                      <a16:colId xmlns:a16="http://schemas.microsoft.com/office/drawing/2014/main" val="3321582854"/>
                    </a:ext>
                  </a:extLst>
                </a:gridCol>
                <a:gridCol w="1067930">
                  <a:extLst>
                    <a:ext uri="{9D8B030D-6E8A-4147-A177-3AD203B41FA5}">
                      <a16:colId xmlns:a16="http://schemas.microsoft.com/office/drawing/2014/main" val="1999149826"/>
                    </a:ext>
                  </a:extLst>
                </a:gridCol>
                <a:gridCol w="1106531">
                  <a:extLst>
                    <a:ext uri="{9D8B030D-6E8A-4147-A177-3AD203B41FA5}">
                      <a16:colId xmlns:a16="http://schemas.microsoft.com/office/drawing/2014/main" val="819329176"/>
                    </a:ext>
                  </a:extLst>
                </a:gridCol>
                <a:gridCol w="1109747">
                  <a:extLst>
                    <a:ext uri="{9D8B030D-6E8A-4147-A177-3AD203B41FA5}">
                      <a16:colId xmlns:a16="http://schemas.microsoft.com/office/drawing/2014/main" val="1493539504"/>
                    </a:ext>
                  </a:extLst>
                </a:gridCol>
                <a:gridCol w="1248064">
                  <a:extLst>
                    <a:ext uri="{9D8B030D-6E8A-4147-A177-3AD203B41FA5}">
                      <a16:colId xmlns:a16="http://schemas.microsoft.com/office/drawing/2014/main" val="3852993133"/>
                    </a:ext>
                  </a:extLst>
                </a:gridCol>
              </a:tblGrid>
              <a:tr h="218166">
                <a:tc gridSpan="5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akutních lůžek (ARO + JIP) v ČR k 02.07. 2021, 10:30h</a:t>
                      </a:r>
                    </a:p>
                  </a:txBody>
                  <a:tcPr marL="6498" marR="6498" marT="649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8777747"/>
                  </a:ext>
                </a:extLst>
              </a:tr>
              <a:tr h="190519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1935512"/>
                  </a:ext>
                </a:extLst>
              </a:tr>
              <a:tr h="21816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utní lůžka IP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0646011"/>
                  </a:ext>
                </a:extLst>
              </a:tr>
              <a:tr h="63112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/CPAP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/CPAPpro Covid+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/NIV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/NIV pro Covid+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4679065"/>
                  </a:ext>
                </a:extLst>
              </a:tr>
              <a:tr h="19479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3822880"/>
                  </a:ext>
                </a:extLst>
              </a:tr>
              <a:tr h="19479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7508037"/>
                  </a:ext>
                </a:extLst>
              </a:tr>
              <a:tr h="19479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4114564"/>
                  </a:ext>
                </a:extLst>
              </a:tr>
              <a:tr h="19479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8998420"/>
                  </a:ext>
                </a:extLst>
              </a:tr>
              <a:tr h="19479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3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2667822"/>
                  </a:ext>
                </a:extLst>
              </a:tr>
              <a:tr h="19479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9164686"/>
                  </a:ext>
                </a:extLst>
              </a:tr>
              <a:tr h="19479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7952873"/>
                  </a:ext>
                </a:extLst>
              </a:tr>
              <a:tr h="19479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4568356"/>
                  </a:ext>
                </a:extLst>
              </a:tr>
              <a:tr h="19479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9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5619295"/>
                  </a:ext>
                </a:extLst>
              </a:tr>
              <a:tr h="19479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7503155"/>
                  </a:ext>
                </a:extLst>
              </a:tr>
              <a:tr h="19479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5843680"/>
                  </a:ext>
                </a:extLst>
              </a:tr>
              <a:tr h="19479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241804"/>
                  </a:ext>
                </a:extLst>
              </a:tr>
              <a:tr h="19479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5596950"/>
                  </a:ext>
                </a:extLst>
              </a:tr>
              <a:tr h="2103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9605637"/>
                  </a:ext>
                </a:extLst>
              </a:tr>
              <a:tr h="2259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26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2</a:t>
                      </a:r>
                    </a:p>
                  </a:txBody>
                  <a:tcPr marL="6498" marR="6498" marT="649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1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6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6498" marR="6498" marT="64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020274"/>
                  </a:ext>
                </a:extLst>
              </a:tr>
              <a:tr h="373247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</a:t>
                      </a:r>
                    </a:p>
                  </a:txBody>
                  <a:tcPr marL="6498" marR="6498" marT="649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342595"/>
                  </a:ext>
                </a:extLst>
              </a:tr>
              <a:tr h="190519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6976704"/>
                  </a:ext>
                </a:extLst>
              </a:tr>
              <a:tr h="37324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498" marR="6498" marT="649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498" marR="6498" marT="649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498" marR="6498" marT="649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498" marR="6498" marT="649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498" marR="6498" marT="649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498" marR="6498" marT="649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498" marR="6498" marT="649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6577665"/>
                  </a:ext>
                </a:extLst>
              </a:tr>
              <a:tr h="194790">
                <a:tc gridSpan="3">
                  <a:txBody>
                    <a:bodyPr/>
                    <a:lstStyle/>
                    <a:p>
                      <a:pPr algn="r" fontAlgn="b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x</a:t>
                      </a: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98" marR="6498" marT="64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21845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49201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308FBC4-9856-48C7-8DF3-A027D07EF2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819" y="0"/>
            <a:ext cx="5763181" cy="1059255"/>
          </a:xfrm>
        </p:spPr>
        <p:txBody>
          <a:bodyPr/>
          <a:lstStyle/>
          <a:p>
            <a:r>
              <a:rPr lang="cs-CZ" dirty="0" smtClean="0"/>
              <a:t>Scénáře </a:t>
            </a:r>
            <a:r>
              <a:rPr lang="cs-CZ" dirty="0"/>
              <a:t>pro </a:t>
            </a:r>
            <a:br>
              <a:rPr lang="cs-CZ" dirty="0"/>
            </a:br>
            <a:r>
              <a:rPr lang="cs-CZ" dirty="0"/>
              <a:t>vývoj epidemie v červnu/červenci</a:t>
            </a:r>
          </a:p>
        </p:txBody>
      </p:sp>
      <p:sp>
        <p:nvSpPr>
          <p:cNvPr id="6" name="Zástupný obsah 2">
            <a:extLst>
              <a:ext uri="{FF2B5EF4-FFF2-40B4-BE49-F238E27FC236}">
                <a16:creationId xmlns:a16="http://schemas.microsoft.com/office/drawing/2014/main" id="{BE5D9B15-9A2B-4DD9-96F4-1AF57AAB98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1992" y="1428269"/>
            <a:ext cx="9017657" cy="4428821"/>
          </a:xfrm>
        </p:spPr>
        <p:txBody>
          <a:bodyPr>
            <a:noAutofit/>
          </a:bodyPr>
          <a:lstStyle/>
          <a:p>
            <a:r>
              <a:rPr lang="cs-CZ" sz="1800" b="1" dirty="0"/>
              <a:t>V návaznosti na novou kalibraci modelu 1. 6. byly připraveny nové scénáře</a:t>
            </a:r>
            <a:r>
              <a:rPr lang="en-US" sz="1800" b="1" dirty="0"/>
              <a:t>*</a:t>
            </a:r>
            <a:endParaRPr lang="cs-CZ" sz="1800" b="1" dirty="0"/>
          </a:p>
          <a:p>
            <a:endParaRPr lang="cs-CZ" sz="1800" b="1" dirty="0"/>
          </a:p>
          <a:p>
            <a:r>
              <a:rPr lang="cs-CZ" sz="1800" b="1" dirty="0">
                <a:solidFill>
                  <a:srgbClr val="00B050"/>
                </a:solidFill>
              </a:rPr>
              <a:t>Scénář </a:t>
            </a:r>
            <a:r>
              <a:rPr lang="en-US" sz="1800" b="1" dirty="0">
                <a:solidFill>
                  <a:srgbClr val="00B050"/>
                </a:solidFill>
              </a:rPr>
              <a:t>A</a:t>
            </a:r>
            <a:r>
              <a:rPr lang="cs-CZ" sz="1800" b="1" dirty="0">
                <a:solidFill>
                  <a:srgbClr val="00B050"/>
                </a:solidFill>
              </a:rPr>
              <a:t> (scénář vyhasínání epidemie; předpokládané R = </a:t>
            </a:r>
            <a:r>
              <a:rPr lang="en-US" sz="1800" b="1" dirty="0">
                <a:solidFill>
                  <a:srgbClr val="00B050"/>
                </a:solidFill>
              </a:rPr>
              <a:t>0,</a:t>
            </a:r>
            <a:r>
              <a:rPr lang="cs-CZ" sz="1800" b="1" dirty="0">
                <a:solidFill>
                  <a:srgbClr val="00B050"/>
                </a:solidFill>
              </a:rPr>
              <a:t>70)</a:t>
            </a:r>
          </a:p>
          <a:p>
            <a:pPr lvl="1"/>
            <a:r>
              <a:rPr lang="cs-CZ" sz="1600" dirty="0"/>
              <a:t>výrazný dopad opatření a očkování, zlepšení díky vlivu sezónnosti, rozvoji dalších mechanismů (např. testování a trasování) apod., odpovídá aktuálním hodnotám reprodukčního čísla</a:t>
            </a:r>
          </a:p>
          <a:p>
            <a:pPr lvl="1"/>
            <a:endParaRPr lang="cs-CZ" sz="1600" dirty="0"/>
          </a:p>
          <a:p>
            <a:r>
              <a:rPr lang="cs-CZ" sz="1800" b="1" dirty="0">
                <a:solidFill>
                  <a:srgbClr val="FFC618"/>
                </a:solidFill>
              </a:rPr>
              <a:t>Scénář B (scénář stagnace epidemie, předpokládané R = 0,90)</a:t>
            </a:r>
          </a:p>
          <a:p>
            <a:pPr lvl="1"/>
            <a:r>
              <a:rPr lang="cs-CZ" sz="1600" dirty="0"/>
              <a:t>zpomalení poklesu vlivem mírného dopadu rozvolnění</a:t>
            </a:r>
          </a:p>
          <a:p>
            <a:pPr lvl="1"/>
            <a:endParaRPr lang="cs-CZ" sz="1600" dirty="0"/>
          </a:p>
          <a:p>
            <a:r>
              <a:rPr lang="cs-CZ" sz="1800" b="1" dirty="0">
                <a:solidFill>
                  <a:srgbClr val="FF0000"/>
                </a:solidFill>
              </a:rPr>
              <a:t>Scénář C (potenciálně rizikový scénář, předpokládané R = 1,10)</a:t>
            </a:r>
          </a:p>
          <a:p>
            <a:pPr lvl="1"/>
            <a:r>
              <a:rPr lang="cs-CZ" sz="1600" dirty="0"/>
              <a:t>opětovné dílčí zhoršení situace v důsledku rozvolnění, snížení akceptace opatření populací, vlivu emergentních (mutovaných) variant SARS-CoV-2 apod.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267E8C24-967E-41C5-A2B5-229406E471EE}"/>
              </a:ext>
            </a:extLst>
          </p:cNvPr>
          <p:cNvSpPr txBox="1"/>
          <p:nvPr/>
        </p:nvSpPr>
        <p:spPr>
          <a:xfrm>
            <a:off x="66925" y="5902938"/>
            <a:ext cx="1179091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ovíd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j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 kalibraci reprodukčního čísla epidemiologickým modelem pro krátkodobé predikce ÚZIS ČR v segmentu od 1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5. do 31. 5. 202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odhad 0,67 (0,47–0,87), interval odpovídá 95% intervalu neurčitosti z odhadů získaných kalibrací modelu, kalibračním cílem byly denní přírůstky s vyjmutím volných dnů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ponenci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lní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áhou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énáře pro různou dynamiku šíření epidemie v následujícím období jsou aplikovány od 24. 5. 2021.</a:t>
            </a:r>
          </a:p>
        </p:txBody>
      </p:sp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8644380" y="1887385"/>
            <a:ext cx="3279446" cy="378565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současnosti pozorujeme stagnaci epidemie</a:t>
            </a:r>
            <a:r>
              <a:rPr kumimoji="0" lang="cs-CZ" sz="160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ři denním průměrném počtu nových případů cca 120 – 130. Tento vývoj sebou nese </a:t>
            </a:r>
            <a:r>
              <a:rPr kumimoji="0" lang="cs-CZ" sz="1600" i="0" u="none" strike="noStrike" kern="1200" cap="none" spc="0" normalizeH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opopulační</a:t>
            </a:r>
            <a:r>
              <a:rPr kumimoji="0" lang="cs-CZ" sz="160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odnotu R &gt; 1,1 a je důsledkem potenciálně rizikového vývoje zejména v Praze a sousedících okresech STČ. Pražská populace kontinuálně roste ve virové zátěži zejména u mladých lidí ve věku do 30 let. Pokud by tento vývoj pokračoval nebo dále eskaloval, budou prediktivní scénáře modelů doplněny o nové varianty. </a:t>
            </a:r>
            <a:endParaRPr kumimoji="0" lang="cs-CZ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743471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9" name="TextovéPole 8"/>
          <p:cNvSpPr txBox="1"/>
          <p:nvPr/>
        </p:nvSpPr>
        <p:spPr>
          <a:xfrm>
            <a:off x="8040418" y="2488474"/>
            <a:ext cx="3186215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azená standardní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ůžka C+ pacienty k 02.07.2021 00:18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6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/>
        </p:nvGraphicFramePr>
        <p:xfrm>
          <a:off x="332821" y="996693"/>
          <a:ext cx="8116236" cy="5316712"/>
        </p:xfrm>
        <a:graphic>
          <a:graphicData uri="http://schemas.openxmlformats.org/drawingml/2006/table">
            <a:tbl>
              <a:tblPr/>
              <a:tblGrid>
                <a:gridCol w="1913700">
                  <a:extLst>
                    <a:ext uri="{9D8B030D-6E8A-4147-A177-3AD203B41FA5}">
                      <a16:colId xmlns:a16="http://schemas.microsoft.com/office/drawing/2014/main" val="4204405058"/>
                    </a:ext>
                  </a:extLst>
                </a:gridCol>
                <a:gridCol w="1078579">
                  <a:extLst>
                    <a:ext uri="{9D8B030D-6E8A-4147-A177-3AD203B41FA5}">
                      <a16:colId xmlns:a16="http://schemas.microsoft.com/office/drawing/2014/main" val="2739753227"/>
                    </a:ext>
                  </a:extLst>
                </a:gridCol>
                <a:gridCol w="1070086">
                  <a:extLst>
                    <a:ext uri="{9D8B030D-6E8A-4147-A177-3AD203B41FA5}">
                      <a16:colId xmlns:a16="http://schemas.microsoft.com/office/drawing/2014/main" val="1368140867"/>
                    </a:ext>
                  </a:extLst>
                </a:gridCol>
                <a:gridCol w="1010636">
                  <a:extLst>
                    <a:ext uri="{9D8B030D-6E8A-4147-A177-3AD203B41FA5}">
                      <a16:colId xmlns:a16="http://schemas.microsoft.com/office/drawing/2014/main" val="3957241776"/>
                    </a:ext>
                  </a:extLst>
                </a:gridCol>
                <a:gridCol w="925710">
                  <a:extLst>
                    <a:ext uri="{9D8B030D-6E8A-4147-A177-3AD203B41FA5}">
                      <a16:colId xmlns:a16="http://schemas.microsoft.com/office/drawing/2014/main" val="552172837"/>
                    </a:ext>
                  </a:extLst>
                </a:gridCol>
                <a:gridCol w="985158">
                  <a:extLst>
                    <a:ext uri="{9D8B030D-6E8A-4147-A177-3AD203B41FA5}">
                      <a16:colId xmlns:a16="http://schemas.microsoft.com/office/drawing/2014/main" val="126628244"/>
                    </a:ext>
                  </a:extLst>
                </a:gridCol>
                <a:gridCol w="1132367">
                  <a:extLst>
                    <a:ext uri="{9D8B030D-6E8A-4147-A177-3AD203B41FA5}">
                      <a16:colId xmlns:a16="http://schemas.microsoft.com/office/drawing/2014/main" val="4085585817"/>
                    </a:ext>
                  </a:extLst>
                </a:gridCol>
              </a:tblGrid>
              <a:tr h="414225">
                <a:tc gridSpan="5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02.07. 2021, 10:30 h</a:t>
                      </a:r>
                    </a:p>
                  </a:txBody>
                  <a:tcPr marL="6272" marR="6272" marT="627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9478308"/>
                  </a:ext>
                </a:extLst>
              </a:tr>
              <a:tr h="177986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438124"/>
                  </a:ext>
                </a:extLst>
              </a:tr>
              <a:tr h="21297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2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2999345"/>
                  </a:ext>
                </a:extLst>
              </a:tr>
              <a:tr h="61610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standardní s kyslíkem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8745065"/>
                  </a:ext>
                </a:extLst>
              </a:tr>
              <a:tr h="1901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20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5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7326284"/>
                  </a:ext>
                </a:extLst>
              </a:tr>
              <a:tr h="1901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41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4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9501735"/>
                  </a:ext>
                </a:extLst>
              </a:tr>
              <a:tr h="1901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08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3810497"/>
                  </a:ext>
                </a:extLst>
              </a:tr>
              <a:tr h="1901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1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909525"/>
                  </a:ext>
                </a:extLst>
              </a:tr>
              <a:tr h="1901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96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9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857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5405990"/>
                  </a:ext>
                </a:extLst>
              </a:tr>
              <a:tr h="1901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0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0471146"/>
                  </a:ext>
                </a:extLst>
              </a:tr>
              <a:tr h="1901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6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3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7920405"/>
                  </a:ext>
                </a:extLst>
              </a:tr>
              <a:tr h="1901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4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9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2681773"/>
                  </a:ext>
                </a:extLst>
              </a:tr>
              <a:tr h="1901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59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1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4618290"/>
                  </a:ext>
                </a:extLst>
              </a:tr>
              <a:tr h="1901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87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5603034"/>
                  </a:ext>
                </a:extLst>
              </a:tr>
              <a:tr h="1901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77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1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9323210"/>
                  </a:ext>
                </a:extLst>
              </a:tr>
              <a:tr h="1901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3055783"/>
                  </a:ext>
                </a:extLst>
              </a:tr>
              <a:tr h="1901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15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3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8371360"/>
                  </a:ext>
                </a:extLst>
              </a:tr>
              <a:tr h="20536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0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3491107"/>
                  </a:ext>
                </a:extLst>
              </a:tr>
              <a:tr h="22058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772</a:t>
                      </a:r>
                    </a:p>
                  </a:txBody>
                  <a:tcPr marL="6272" marR="6272" marT="62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39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96</a:t>
                      </a:r>
                    </a:p>
                  </a:txBody>
                  <a:tcPr marL="6272" marR="6272" marT="62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9100016"/>
                  </a:ext>
                </a:extLst>
              </a:tr>
              <a:tr h="258611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</a:t>
                      </a:r>
                    </a:p>
                  </a:txBody>
                  <a:tcPr marL="6272" marR="6272" marT="627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7856"/>
                  </a:ext>
                </a:extLst>
              </a:tr>
              <a:tr h="177986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10309425"/>
                  </a:ext>
                </a:extLst>
              </a:tr>
              <a:tr h="348364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272" marR="6272" marT="627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272" marR="6272" marT="627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272" marR="6272" marT="627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272" marR="6272" marT="627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272" marR="6272" marT="627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272" marR="6272" marT="627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272" marR="6272" marT="627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8408175"/>
                  </a:ext>
                </a:extLst>
              </a:tr>
              <a:tr h="190156">
                <a:tc gridSpan="3">
                  <a:txBody>
                    <a:bodyPr/>
                    <a:lstStyle/>
                    <a:p>
                      <a:pPr algn="r" fontAlgn="b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x</a:t>
                      </a: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2" marR="6272" marT="627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43203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359549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4109" y="3617595"/>
            <a:ext cx="11623781" cy="1583741"/>
          </a:xfrm>
        </p:spPr>
        <p:txBody>
          <a:bodyPr>
            <a:normAutofit/>
          </a:bodyPr>
          <a:lstStyle/>
          <a:p>
            <a:r>
              <a:rPr lang="cs-CZ" sz="5200" b="1" dirty="0"/>
              <a:t>Dlouhodobé predikce zátěže nemocnic</a:t>
            </a:r>
          </a:p>
          <a:p>
            <a:r>
              <a:rPr lang="cs-CZ" sz="3000" i="1" dirty="0"/>
              <a:t>Nové kalibrace modelů z počátku května 2021</a:t>
            </a:r>
          </a:p>
        </p:txBody>
      </p:sp>
      <p:sp>
        <p:nvSpPr>
          <p:cNvPr id="4" name="Obdélník 3"/>
          <p:cNvSpPr/>
          <p:nvPr/>
        </p:nvSpPr>
        <p:spPr>
          <a:xfrm>
            <a:off x="661166" y="5041079"/>
            <a:ext cx="1086966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afické znázornění je projekcí modelů SEIR-V a vychází ze scénářů predikcí kalkulujících s příznivým dopadem očkování (ochranný efekt již po první dávce) – při implementaci byly dále promítnuty dva scénáře s možným dopadem uvolňování opatření.</a:t>
            </a:r>
          </a:p>
        </p:txBody>
      </p:sp>
    </p:spTree>
    <p:extLst>
      <p:ext uri="{BB962C8B-B14F-4D97-AF65-F5344CB8AC3E}">
        <p14:creationId xmlns:p14="http://schemas.microsoft.com/office/powerpoint/2010/main" val="348893002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/>
          <p:cNvSpPr/>
          <p:nvPr/>
        </p:nvSpPr>
        <p:spPr>
          <a:xfrm>
            <a:off x="431485" y="150627"/>
            <a:ext cx="1118525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zátěže nemocnic (celkové počty hospitalizací a zátěž intenzivní péče) j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rojekcích dlouhodobých modelů doplněn predikcí mortality související s COVID-19. Nové modely kalkulují ve všech scénářích s rychlým ochranným efektem očkování, tedy s účinností již první dávky vakcinace. </a:t>
            </a:r>
          </a:p>
        </p:txBody>
      </p:sp>
      <p:sp>
        <p:nvSpPr>
          <p:cNvPr id="12" name="Šipka dolů 11"/>
          <p:cNvSpPr/>
          <p:nvPr/>
        </p:nvSpPr>
        <p:spPr>
          <a:xfrm>
            <a:off x="5204045" y="1718418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1186381" y="2300376"/>
            <a:ext cx="967546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ční modely byly nově vytvořeny ve dvou variantách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0" indent="-4572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račující brždění epidemie, bez projevu rozvolnění v dubnu/květnu, zahrnutí vlivu očkování (rychlý scénář, imunita od první dávky)</a:t>
            </a:r>
          </a:p>
          <a:p>
            <a:pPr marL="273050" marR="0" lvl="0" indent="-2730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. Potenciální dopad rozvolnění v květnu, zahrnutí vlivu očkování (rychlý scénář, imunita od první dávky)</a:t>
            </a:r>
          </a:p>
        </p:txBody>
      </p:sp>
      <p:sp>
        <p:nvSpPr>
          <p:cNvPr id="5" name="Obdélník 4"/>
          <p:cNvSpPr/>
          <p:nvPr/>
        </p:nvSpPr>
        <p:spPr>
          <a:xfrm>
            <a:off x="565031" y="4756660"/>
            <a:ext cx="1118525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ý vývoj v měsíci červnu nadále potvrzuje stabilitu epidemické situa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pokračující progresivní pokles zátěže nemocnic bez vlivu rozvolňování opatření. Jde jednoznačně o efekt postupující vakcinace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204045" y="6233053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736408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endParaRPr lang="cs-CZ" dirty="0">
              <a:latin typeface="+mn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3081321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6799861" y="585656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21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889783" y="1020312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889782" y="1670450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a to i při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" name="Přímá spojnice 2"/>
          <p:cNvCxnSpPr/>
          <p:nvPr>
            <p:custDataLst>
              <p:tags r:id="rId5"/>
            </p:custDataLst>
          </p:nvPr>
        </p:nvCxnSpPr>
        <p:spPr>
          <a:xfrm>
            <a:off x="6244586" y="1149910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Přímá spojnice 13"/>
          <p:cNvCxnSpPr/>
          <p:nvPr>
            <p:custDataLst>
              <p:tags r:id="rId6"/>
            </p:custDataLst>
          </p:nvPr>
        </p:nvCxnSpPr>
        <p:spPr>
          <a:xfrm>
            <a:off x="6244586" y="1816104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6889782" y="2341324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8326385" y="3709161"/>
            <a:ext cx="386561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jsou připraveny ve svou odlišných scénářích, z nichž jeden je rizikový a kalkuluje v období od cca 15.5. s možným negativním vlivem rozvolňování opatření. Reálný vývoj zátěže nemocnic avšak sleduje silný klesající trend a potvrzuje tak stabilizaci situace vlivem postupující vakcinace zranitelných skupin obyvatel. </a:t>
            </a:r>
          </a:p>
        </p:txBody>
      </p:sp>
      <p:sp>
        <p:nvSpPr>
          <p:cNvPr id="6" name="Šipka doprava 5"/>
          <p:cNvSpPr/>
          <p:nvPr/>
        </p:nvSpPr>
        <p:spPr>
          <a:xfrm>
            <a:off x="7878496" y="4461779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71843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r>
              <a:rPr lang="en-US" u="sng" dirty="0">
                <a:latin typeface="+mn-lt"/>
              </a:rPr>
              <a:t> </a:t>
            </a:r>
            <a:r>
              <a:rPr lang="en-US" u="sng" dirty="0" err="1">
                <a:latin typeface="+mn-lt"/>
              </a:rPr>
              <a:t>na</a:t>
            </a:r>
            <a:r>
              <a:rPr lang="en-US" u="sng" dirty="0">
                <a:latin typeface="+mn-lt"/>
              </a:rPr>
              <a:t> JIP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DB44BF5-DF2B-43BD-A159-972F53E32F46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5781862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3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679924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4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82014" y="1114580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6" name="Přímá spojnice 15"/>
          <p:cNvCxnSpPr/>
          <p:nvPr>
            <p:custDataLst>
              <p:tags r:id="rId3"/>
            </p:custDataLst>
          </p:nvPr>
        </p:nvCxnSpPr>
        <p:spPr>
          <a:xfrm>
            <a:off x="6536817" y="1244178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Přímá spojnice 16"/>
          <p:cNvCxnSpPr/>
          <p:nvPr>
            <p:custDataLst>
              <p:tags r:id="rId4"/>
            </p:custDataLst>
          </p:nvPr>
        </p:nvCxnSpPr>
        <p:spPr>
          <a:xfrm>
            <a:off x="6536817" y="1910372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7182013" y="2435592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1" name="TextovéPole 20"/>
          <p:cNvSpPr txBox="1"/>
          <p:nvPr/>
        </p:nvSpPr>
        <p:spPr>
          <a:xfrm>
            <a:off x="8345239" y="3756296"/>
            <a:ext cx="386561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jsou připraveny ve svou odlišných scénářích, z nichž jeden je rizikový a kalkuluje v období od cca 15.5. s možným negativním vlivem rozvolňování opatření. Reálný vývoj zátěže nemocnic avšak sleduje silný klesající trend a potvrzuje tak stabilizaci situace vlivem postupující vakcinace zranitelných skupin obyvatel. </a:t>
            </a:r>
          </a:p>
        </p:txBody>
      </p:sp>
      <p:sp>
        <p:nvSpPr>
          <p:cNvPr id="24" name="Šipka doprava 23"/>
          <p:cNvSpPr/>
          <p:nvPr/>
        </p:nvSpPr>
        <p:spPr>
          <a:xfrm>
            <a:off x="7878496" y="4461779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182013" y="172902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a to i při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59529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nových hospitalizačních</a:t>
            </a:r>
            <a:r>
              <a:rPr lang="cs-CZ" dirty="0">
                <a:latin typeface="+mn-lt"/>
              </a:rPr>
              <a:t> případů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828607" y="3049018"/>
            <a:ext cx="41857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nových hospitalizačních případů </a:t>
            </a:r>
          </a:p>
        </p:txBody>
      </p: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130BB482-BBA1-4B51-97C3-EC21F9C9ABD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363459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82665" y="782308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3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72587" y="1216964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7" name="Přímá spojnice 16"/>
          <p:cNvCxnSpPr/>
          <p:nvPr>
            <p:custDataLst>
              <p:tags r:id="rId3"/>
            </p:custDataLst>
          </p:nvPr>
        </p:nvCxnSpPr>
        <p:spPr>
          <a:xfrm>
            <a:off x="6527390" y="1346562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18"/>
          <p:cNvCxnSpPr/>
          <p:nvPr>
            <p:custDataLst>
              <p:tags r:id="rId4"/>
            </p:custDataLst>
          </p:nvPr>
        </p:nvCxnSpPr>
        <p:spPr>
          <a:xfrm>
            <a:off x="6527390" y="2012756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947611" y="2517240"/>
            <a:ext cx="3898579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1" name="Šipka doprava 20"/>
          <p:cNvSpPr/>
          <p:nvPr/>
        </p:nvSpPr>
        <p:spPr>
          <a:xfrm>
            <a:off x="7878496" y="4461779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/>
          <p:cNvSpPr txBox="1"/>
          <p:nvPr/>
        </p:nvSpPr>
        <p:spPr>
          <a:xfrm>
            <a:off x="8345239" y="3973111"/>
            <a:ext cx="386561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jsou připraveny ve svou odlišných scénářích, z nichž jeden je rizikový a kalkuluje v období od cca 15.5. s možným negativním vlivem rozvolňování opatření. Reálný vývoj zátěže nemocnic avšak sleduje silný klesající trend a potvrzuje tak stabilizaci situace vlivem postupující vakcinace zranitelných skupin obyvatel. </a:t>
            </a: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172587" y="1805508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a to i při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606652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zemřelých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712917" y="3049018"/>
            <a:ext cx="1954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zemřelých </a:t>
            </a:r>
          </a:p>
        </p:txBody>
      </p: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66216535-8B7F-43D5-81D9-9F3ED2725AE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8869074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793046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4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182014" y="1227702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6" name="Přímá spojnice 15"/>
          <p:cNvCxnSpPr/>
          <p:nvPr>
            <p:custDataLst>
              <p:tags r:id="rId4"/>
            </p:custDataLst>
          </p:nvPr>
        </p:nvCxnSpPr>
        <p:spPr>
          <a:xfrm>
            <a:off x="6536817" y="1357300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18"/>
          <p:cNvCxnSpPr/>
          <p:nvPr>
            <p:custDataLst>
              <p:tags r:id="rId5"/>
            </p:custDataLst>
          </p:nvPr>
        </p:nvCxnSpPr>
        <p:spPr>
          <a:xfrm>
            <a:off x="6536817" y="2023494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7182013" y="2548714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1" name="Šipka doprava 20"/>
          <p:cNvSpPr/>
          <p:nvPr/>
        </p:nvSpPr>
        <p:spPr>
          <a:xfrm>
            <a:off x="7878496" y="4461779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/>
          <p:cNvSpPr txBox="1"/>
          <p:nvPr/>
        </p:nvSpPr>
        <p:spPr>
          <a:xfrm>
            <a:off x="8345239" y="3973111"/>
            <a:ext cx="3865615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jsou připraveny ve svou odlišných scénářích, z nichž jeden je rizikový a kalkuluje v období od cca 15.5. s možným negativním vlivem rozvolňování opatření. Reálný vývoj avšak sleduje silný klesající trend a potvrzuje tak stabilizaci situace vlivem postupující vakcinace zranitelných skupin obyvatel. </a:t>
            </a: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182014" y="186686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a to i při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920221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140532"/>
          </a:xfrm>
        </p:spPr>
        <p:txBody>
          <a:bodyPr>
            <a:normAutofit/>
          </a:bodyPr>
          <a:lstStyle/>
          <a:p>
            <a:r>
              <a:rPr lang="cs-CZ" sz="5200" b="1" i="1" dirty="0"/>
              <a:t>Příloha </a:t>
            </a:r>
          </a:p>
          <a:p>
            <a:r>
              <a:rPr lang="cs-CZ" sz="5200" b="1" i="1" dirty="0"/>
              <a:t>Projekce počtu očkovaných </a:t>
            </a:r>
            <a:r>
              <a:rPr lang="en-US" sz="5200" b="1" i="1" dirty="0"/>
              <a:t>z 11.</a:t>
            </a:r>
            <a:r>
              <a:rPr lang="cs-CZ" sz="5200" b="1" i="1" dirty="0"/>
              <a:t> </a:t>
            </a:r>
            <a:r>
              <a:rPr lang="en-US" sz="5200" b="1" i="1" dirty="0"/>
              <a:t>6.</a:t>
            </a:r>
            <a:r>
              <a:rPr lang="cs-CZ" sz="5200" b="1" i="1" dirty="0"/>
              <a:t> </a:t>
            </a:r>
            <a:r>
              <a:rPr lang="en-US" sz="5200" b="1" i="1" dirty="0"/>
              <a:t>2021</a:t>
            </a:r>
            <a:endParaRPr lang="cs-CZ" sz="5200" i="1" dirty="0"/>
          </a:p>
        </p:txBody>
      </p:sp>
    </p:spTree>
    <p:extLst>
      <p:ext uri="{BB962C8B-B14F-4D97-AF65-F5344CB8AC3E}">
        <p14:creationId xmlns:p14="http://schemas.microsoft.com/office/powerpoint/2010/main" val="281805462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sah 1">
            <a:extLst>
              <a:ext uri="{FF2B5EF4-FFF2-40B4-BE49-F238E27FC236}">
                <a16:creationId xmlns:a16="http://schemas.microsoft.com/office/drawing/2014/main" id="{C4213C18-6625-42DF-887C-CAC9A8BE78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7305" y="2177590"/>
            <a:ext cx="11487705" cy="4479009"/>
          </a:xfrm>
        </p:spPr>
        <p:txBody>
          <a:bodyPr>
            <a:normAutofit fontScale="92500" lnSpcReduction="20000"/>
          </a:bodyPr>
          <a:lstStyle/>
          <a:p>
            <a:r>
              <a:rPr lang="cs-CZ" dirty="0"/>
              <a:t>Hodnoty do </a:t>
            </a:r>
            <a:r>
              <a:rPr lang="en-US" dirty="0"/>
              <a:t>9.6</a:t>
            </a:r>
            <a:r>
              <a:rPr lang="cs-CZ" dirty="0"/>
              <a:t>.2021 jsou převzaty z reálného vývoje očkování dle záznamů ISIN</a:t>
            </a:r>
          </a:p>
          <a:p>
            <a:r>
              <a:rPr lang="cs-CZ" dirty="0"/>
              <a:t>Ze záznamu ISIN je pro projekce převzata průměrná věkově specifická denní míra (denní podíl proočkované populace) </a:t>
            </a:r>
            <a:r>
              <a:rPr lang="en-US" dirty="0"/>
              <a:t>v p</a:t>
            </a:r>
            <a:r>
              <a:rPr lang="cs-CZ" dirty="0" err="1"/>
              <a:t>růběhu</a:t>
            </a:r>
            <a:r>
              <a:rPr lang="cs-CZ" dirty="0"/>
              <a:t> června </a:t>
            </a:r>
          </a:p>
          <a:p>
            <a:pPr lvl="1"/>
            <a:r>
              <a:rPr lang="cs-CZ" dirty="0"/>
              <a:t>pro všechny věkové skupiny jsou prospektivně od června uvažovány příslušné věkově specifické míry (pro věkovou skupinu 16-29 jsou uvažovány hodnoty od 4.6.)</a:t>
            </a:r>
          </a:p>
          <a:p>
            <a:pPr lvl="1"/>
            <a:r>
              <a:rPr lang="cs-CZ" dirty="0"/>
              <a:t>dále je manuálně zvolen koeficient zrychlení pro červen, červenec, srpen, tak aby ve výsledku nebyl překročen předpokládaný počet dodaných dávek, celkem přibližně 3 miliony měsíčně, </a:t>
            </a:r>
            <a:br>
              <a:rPr lang="cs-CZ" dirty="0"/>
            </a:br>
            <a:r>
              <a:rPr lang="cs-CZ" dirty="0"/>
              <a:t>a maximální denní kapacita </a:t>
            </a:r>
            <a:r>
              <a:rPr lang="en-US" dirty="0"/>
              <a:t>pro </a:t>
            </a:r>
            <a:r>
              <a:rPr lang="en-US" dirty="0" err="1"/>
              <a:t>vakc</a:t>
            </a:r>
            <a:r>
              <a:rPr lang="cs-CZ" dirty="0" err="1"/>
              <a:t>íny</a:t>
            </a:r>
            <a:r>
              <a:rPr lang="cs-CZ" dirty="0"/>
              <a:t> </a:t>
            </a:r>
            <a:r>
              <a:rPr lang="cs-CZ" dirty="0" err="1"/>
              <a:t>Comirnaty</a:t>
            </a:r>
            <a:r>
              <a:rPr lang="cs-CZ" dirty="0"/>
              <a:t> a Moderna (uvažováno přibližně 1</a:t>
            </a:r>
            <a:r>
              <a:rPr lang="en-US" dirty="0"/>
              <a:t>2</a:t>
            </a:r>
            <a:r>
              <a:rPr lang="cs-CZ" dirty="0"/>
              <a:t>0 tisíc aplikací)</a:t>
            </a:r>
          </a:p>
          <a:p>
            <a:r>
              <a:rPr lang="cs-CZ" dirty="0"/>
              <a:t>Projekce předpokládá ochotu k očkování věkových skupin ve výši 80%, po dosažení tohoto počtu nové očkování v dané skupině končí</a:t>
            </a:r>
          </a:p>
          <a:p>
            <a:r>
              <a:rPr lang="cs-CZ" dirty="0"/>
              <a:t>Pro druhou dávku je uvažován časový odstup 42 dní po první dávce u vakcín </a:t>
            </a:r>
            <a:r>
              <a:rPr lang="cs-CZ" dirty="0" err="1"/>
              <a:t>Comirnaty</a:t>
            </a:r>
            <a:r>
              <a:rPr lang="cs-CZ" dirty="0"/>
              <a:t> a Moderna, 91 dní u vakcíny </a:t>
            </a:r>
            <a:r>
              <a:rPr lang="cs-CZ" dirty="0" err="1"/>
              <a:t>Vaxzevria</a:t>
            </a:r>
            <a:r>
              <a:rPr lang="cs-CZ" dirty="0"/>
              <a:t> (předpokládá se 100% ochota k absolvování druhé dávky)</a:t>
            </a:r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36A0D2A5-5F1C-4E21-91A5-1957DD0F20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b="1" dirty="0">
                <a:latin typeface="Arial" panose="020B0604020202020204" pitchFamily="34" charset="0"/>
                <a:cs typeface="Arial" panose="020B0604020202020204" pitchFamily="34" charset="0"/>
              </a:rPr>
              <a:t>Předpoklady: </a:t>
            </a:r>
            <a:br>
              <a:rPr lang="cs-CZ" sz="2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2800" b="1" dirty="0">
                <a:latin typeface="Arial" panose="020B0604020202020204" pitchFamily="34" charset="0"/>
                <a:cs typeface="Arial" panose="020B0604020202020204" pitchFamily="34" charset="0"/>
              </a:rPr>
              <a:t>projekce počtu vakcinovaných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267305" y="1541248"/>
            <a:ext cx="117457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dpoklady projekce jsou velmi optimistické a vedou k maximálním dosažitelným hodnotám 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i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55166403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2">
            <a:extLst>
              <a:ext uri="{FF2B5EF4-FFF2-40B4-BE49-F238E27FC236}">
                <a16:creationId xmlns:a16="http://schemas.microsoft.com/office/drawing/2014/main" id="{B936E44B-4B50-4267-B0F0-FFEDEF3CCE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13706" cy="576000"/>
          </a:xfrm>
        </p:spPr>
        <p:txBody>
          <a:bodyPr/>
          <a:lstStyle/>
          <a:p>
            <a:r>
              <a:rPr lang="cs-CZ" sz="2800" b="1" dirty="0">
                <a:latin typeface="Arial" panose="020B0604020202020204" pitchFamily="34" charset="0"/>
                <a:cs typeface="Arial" panose="020B0604020202020204" pitchFamily="34" charset="0"/>
              </a:rPr>
              <a:t>Potenciální projekce: absolutně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BD7170F3-7BA1-4C80-9CA6-1E8C39CF2234}"/>
              </a:ext>
            </a:extLst>
          </p:cNvPr>
          <p:cNvSpPr txBox="1"/>
          <p:nvPr/>
        </p:nvSpPr>
        <p:spPr>
          <a:xfrm>
            <a:off x="842913" y="611167"/>
            <a:ext cx="3195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jeno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- celkem 7,2 milionu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C2393E35-7B52-4774-A997-E553FA19C744}"/>
              </a:ext>
            </a:extLst>
          </p:cNvPr>
          <p:cNvGraphicFramePr/>
          <p:nvPr/>
        </p:nvGraphicFramePr>
        <p:xfrm>
          <a:off x="214605" y="858495"/>
          <a:ext cx="11853664" cy="2722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AA5BD7ED-EC5A-4AAB-BAC1-03B5CAAD62C3}"/>
              </a:ext>
            </a:extLst>
          </p:cNvPr>
          <p:cNvSpPr txBox="1"/>
          <p:nvPr/>
        </p:nvSpPr>
        <p:spPr>
          <a:xfrm>
            <a:off x="842913" y="3773467"/>
            <a:ext cx="3195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končeno - celkem 6,4 milionu</a:t>
            </a:r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11E1EDB0-C535-4C8B-9E6A-3ABAD93DAC0E}"/>
              </a:ext>
            </a:extLst>
          </p:cNvPr>
          <p:cNvGraphicFramePr/>
          <p:nvPr/>
        </p:nvGraphicFramePr>
        <p:xfrm>
          <a:off x="214605" y="4020795"/>
          <a:ext cx="11853664" cy="2722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TextovéPole 15"/>
          <p:cNvSpPr txBox="1"/>
          <p:nvPr/>
        </p:nvSpPr>
        <p:spPr>
          <a:xfrm>
            <a:off x="780846" y="907809"/>
            <a:ext cx="54723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dpoklady projekce jsou velmi optimistické a vedo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maximálním dosažitelným hodnotám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i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</a:p>
        </p:txBody>
      </p:sp>
      <p:sp>
        <p:nvSpPr>
          <p:cNvPr id="17" name="TextovéPole 16"/>
          <p:cNvSpPr txBox="1"/>
          <p:nvPr/>
        </p:nvSpPr>
        <p:spPr>
          <a:xfrm>
            <a:off x="780846" y="4123469"/>
            <a:ext cx="54723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dpoklady projekce jsou velmi optimistické a vedo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maximálním dosažitelným hodnotám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i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4433593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/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>
                <a:latin typeface="+mj-lt"/>
              </a:rPr>
              <a:t>Predikce ve třech scénářích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 (R = 1,10)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zpomalení (R = 0,70)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4475378" y="2789253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8249942" y="2790122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4180633" y="2944288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4475378" y="3014473"/>
            <a:ext cx="31354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	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4180633" y="3167595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4180633" y="3387705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10091064" y="4065325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8. 7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002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5 predikovaných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4467521" y="3238409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1. 6. 2021)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780712" y="4294618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0. 6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09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47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7 predikovaných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EBDA11CD-7AB2-4A54-8221-5C2BB45B0D86}"/>
              </a:ext>
            </a:extLst>
          </p:cNvPr>
          <p:cNvSpPr txBox="1"/>
          <p:nvPr/>
        </p:nvSpPr>
        <p:spPr>
          <a:xfrm>
            <a:off x="8249942" y="3001602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4. 7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51792229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5019C24B-F919-4ACA-BB8F-76275D309064}"/>
              </a:ext>
            </a:extLst>
          </p:cNvPr>
          <p:cNvGraphicFramePr/>
          <p:nvPr/>
        </p:nvGraphicFramePr>
        <p:xfrm>
          <a:off x="214605" y="4020795"/>
          <a:ext cx="11853664" cy="2722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B936E44B-4B50-4267-B0F0-FFEDEF3CCE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13706" cy="576000"/>
          </a:xfrm>
        </p:spPr>
        <p:txBody>
          <a:bodyPr/>
          <a:lstStyle/>
          <a:p>
            <a:r>
              <a:rPr lang="cs-CZ" sz="2800" dirty="0"/>
              <a:t>Potenciální projekce: proočkovanost</a:t>
            </a:r>
            <a:endParaRPr lang="cs-CZ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BD7170F3-7BA1-4C80-9CA6-1E8C39CF2234}"/>
              </a:ext>
            </a:extLst>
          </p:cNvPr>
          <p:cNvSpPr txBox="1"/>
          <p:nvPr/>
        </p:nvSpPr>
        <p:spPr>
          <a:xfrm>
            <a:off x="842913" y="611167"/>
            <a:ext cx="3195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ájeno - celkem 81 %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C2393E35-7B52-4774-A997-E553FA19C744}"/>
              </a:ext>
            </a:extLst>
          </p:cNvPr>
          <p:cNvGraphicFramePr/>
          <p:nvPr/>
        </p:nvGraphicFramePr>
        <p:xfrm>
          <a:off x="214605" y="858495"/>
          <a:ext cx="11853664" cy="2722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AA5BD7ED-EC5A-4AAB-BAC1-03B5CAAD62C3}"/>
              </a:ext>
            </a:extLst>
          </p:cNvPr>
          <p:cNvSpPr txBox="1"/>
          <p:nvPr/>
        </p:nvSpPr>
        <p:spPr>
          <a:xfrm>
            <a:off x="842913" y="3773467"/>
            <a:ext cx="3195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končeno - celkem 72 %</a:t>
            </a:r>
          </a:p>
        </p:txBody>
      </p:sp>
      <p:sp>
        <p:nvSpPr>
          <p:cNvPr id="13" name="TextovéPole 12"/>
          <p:cNvSpPr txBox="1"/>
          <p:nvPr/>
        </p:nvSpPr>
        <p:spPr>
          <a:xfrm>
            <a:off x="780846" y="907809"/>
            <a:ext cx="54723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dpoklady projekce jsou velmi optimistické a vedo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maximálním dosažitelným hodnotám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i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780846" y="4123469"/>
            <a:ext cx="54723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dpoklady projekce jsou velmi optimistické a vedo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maximálním dosažitelným hodnotám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i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4597886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A8F32B7D-2094-4232-AD78-BE19DD7B9AE6}"/>
              </a:ext>
            </a:extLst>
          </p:cNvPr>
          <p:cNvSpPr txBox="1"/>
          <p:nvPr/>
        </p:nvSpPr>
        <p:spPr>
          <a:xfrm>
            <a:off x="-177557" y="578574"/>
            <a:ext cx="123139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cké křivky vytvořeny pomocí modelu pro krátkodobé predikce ÚZIS ČR,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ov</a:t>
            </a:r>
            <a:r>
              <a:rPr kumimoji="0" lang="cs-CZ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dá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údajům z 1. 6. 2021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aměřené hodnoty jsou aktuální </a:t>
            </a:r>
            <a:r>
              <a:rPr kumimoji="0" lang="pl-PL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uzavřenému dni 4. 7. 202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endParaRPr kumimoji="0" lang="cs-CZ" sz="17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000" y="2574"/>
            <a:ext cx="6776706" cy="576000"/>
          </a:xfrm>
        </p:spPr>
        <p:txBody>
          <a:bodyPr/>
          <a:lstStyle/>
          <a:p>
            <a:r>
              <a:rPr lang="cs-CZ" dirty="0" err="1"/>
              <a:t>Rekalibrace</a:t>
            </a:r>
            <a:r>
              <a:rPr lang="cs-CZ" dirty="0"/>
              <a:t> prediktivního modelu pro </a:t>
            </a:r>
            <a:r>
              <a:rPr lang="cs-CZ" u="sng" dirty="0"/>
              <a:t>nové scénáře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2CDF3C9D-B366-482C-9DEE-848BF9D72AE3}"/>
              </a:ext>
            </a:extLst>
          </p:cNvPr>
          <p:cNvGraphicFramePr>
            <a:graphicFrameLocks noGrp="1"/>
          </p:cNvGraphicFramePr>
          <p:nvPr/>
        </p:nvGraphicFramePr>
        <p:xfrm>
          <a:off x="45720" y="1208997"/>
          <a:ext cx="12108951" cy="5019468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842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46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308321464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314805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091220691"/>
                    </a:ext>
                  </a:extLst>
                </a:gridCol>
              </a:tblGrid>
              <a:tr h="822960">
                <a:tc>
                  <a:txBody>
                    <a:bodyPr/>
                    <a:lstStyle/>
                    <a:p>
                      <a:pPr algn="l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u="sng" dirty="0"/>
                        <a:t>Predikovaný celkový počet</a:t>
                      </a:r>
                      <a:r>
                        <a:rPr lang="cs-CZ" sz="1600" u="none" dirty="0"/>
                        <a:t> </a:t>
                      </a:r>
                      <a:br>
                        <a:rPr lang="cs-CZ" sz="1600" u="none" dirty="0"/>
                      </a:br>
                      <a:r>
                        <a:rPr lang="cs-CZ" sz="1600" u="none" dirty="0"/>
                        <a:t>N</a:t>
                      </a:r>
                      <a:r>
                        <a:rPr lang="cs-CZ" sz="1600" dirty="0"/>
                        <a:t>ově prokázané nákazy COVID-19</a:t>
                      </a:r>
                      <a:endParaRPr lang="cs-CZ" sz="16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alita: naměřené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dno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u="sng" dirty="0"/>
                        <a:t>Predikovaný průměrný denní počet</a:t>
                      </a:r>
                      <a:r>
                        <a:rPr lang="cs-CZ" sz="1600" dirty="0"/>
                        <a:t> Nově prokázané nákazy COVID-19</a:t>
                      </a:r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b="1" dirty="0"/>
                        <a:t>Realita: naměřené</a:t>
                      </a:r>
                    </a:p>
                    <a:p>
                      <a:pPr algn="ctr"/>
                      <a:r>
                        <a:rPr lang="cs-CZ" sz="1600" b="1" dirty="0"/>
                        <a:t>hodnoty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dnota R</a:t>
                      </a:r>
                      <a:b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d 24</a:t>
                      </a:r>
                      <a:r>
                        <a:rPr lang="en-US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5.)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četně víkendů</a:t>
                      </a:r>
                      <a:endParaRPr lang="en-US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 pracovních dnech</a:t>
                      </a:r>
                      <a:endParaRPr lang="cs-CZ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cs-CZ" sz="1450" b="1" u="none" strike="noStrike" dirty="0">
                          <a:effectLst/>
                        </a:rPr>
                        <a:t>.–13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4 tisí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8 tisí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2 tisí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3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1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5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2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75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2103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dirty="0">
                          <a:effectLst/>
                        </a:rPr>
                        <a:t>Období </a:t>
                      </a:r>
                      <a:r>
                        <a:rPr lang="cs-CZ" sz="1450" b="1" u="none" strike="noStrike" dirty="0">
                          <a:effectLst/>
                        </a:rPr>
                        <a:t>14.–20. 6.</a:t>
                      </a:r>
                      <a:endParaRPr lang="cs-CZ" sz="14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0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4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0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8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9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4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62736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  <a:r>
                        <a:rPr lang="cs-CZ" sz="1450" b="1" u="none" strike="noStrike" dirty="0">
                          <a:effectLst/>
                        </a:rPr>
                        <a:t>.–27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7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2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9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4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6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30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466947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. 6.</a:t>
                      </a:r>
                      <a:r>
                        <a:rPr lang="cs-CZ" sz="1450" b="1" u="none" strike="noStrike" dirty="0">
                          <a:effectLst/>
                        </a:rPr>
                        <a:t>–4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5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0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7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1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4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23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246171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</a:t>
                      </a:r>
                      <a:r>
                        <a:rPr lang="cs-CZ" sz="1450" b="1" u="none" strike="noStrike" dirty="0">
                          <a:effectLst/>
                        </a:rPr>
                        <a:t>–11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8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2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33987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.</a:t>
                      </a:r>
                      <a:r>
                        <a:rPr lang="cs-CZ" sz="1450" b="1" u="none" strike="noStrike" dirty="0">
                          <a:effectLst/>
                        </a:rPr>
                        <a:t>–18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 tisíc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7 tisíc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5 tisíc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,6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7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8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47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651041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E4A0DC13-0AB7-42C0-B44A-C8095E8723E9}"/>
              </a:ext>
            </a:extLst>
          </p:cNvPr>
          <p:cNvSpPr txBox="1"/>
          <p:nvPr/>
        </p:nvSpPr>
        <p:spPr>
          <a:xfrm>
            <a:off x="45720" y="6279426"/>
            <a:ext cx="12090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počty odpovídají modelovaným hodnotám (kalibrovaným na hodnoty pozorované v pracovních dnech), naměřené hodnoty zahrnují všechny počty hlášené do databáze, včetně potenciálně nižších záchytů nemoci v nepracovních dnech. V případě denního průměrného počtu jsou uvedeny i hodnoty, které zahrnují pouze pracovní dny.</a:t>
            </a:r>
          </a:p>
        </p:txBody>
      </p:sp>
    </p:spTree>
    <p:extLst>
      <p:ext uri="{BB962C8B-B14F-4D97-AF65-F5344CB8AC3E}">
        <p14:creationId xmlns:p14="http://schemas.microsoft.com/office/powerpoint/2010/main" val="16940726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/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dirty="0" err="1">
                <a:latin typeface="+mj-lt"/>
              </a:rPr>
              <a:t>Modelov</a:t>
            </a:r>
            <a:r>
              <a:rPr lang="cs-CZ" dirty="0">
                <a:latin typeface="+mj-lt"/>
              </a:rPr>
              <a:t>é scénáře: </a:t>
            </a:r>
            <a:r>
              <a:rPr lang="cs-CZ" dirty="0" err="1">
                <a:latin typeface="+mj-lt"/>
              </a:rPr>
              <a:t>7denní</a:t>
            </a:r>
            <a:r>
              <a:rPr lang="cs-CZ" dirty="0">
                <a:latin typeface="+mj-lt"/>
              </a:rPr>
              <a:t> hodnoty na 100 tisíc obyvatel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472652" y="1001353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637215" y="1583552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9546722" y="2199307"/>
            <a:ext cx="1945049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8. 7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2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 na 100 tisíc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924103" y="1434256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1. 6. 2021)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273125" y="2199307"/>
            <a:ext cx="1945048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0. 6. 2021 </a:t>
            </a:r>
            <a:b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4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7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 na 100 tisíc</a:t>
            </a: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2AE1522-C017-42C8-A5BD-E7F3E887F3AA}"/>
              </a:ext>
            </a:extLst>
          </p:cNvPr>
          <p:cNvSpPr txBox="1"/>
          <p:nvPr/>
        </p:nvSpPr>
        <p:spPr>
          <a:xfrm>
            <a:off x="7780712" y="1826572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2CDA8BD-006D-42A8-BA88-064DA323F845}"/>
              </a:ext>
            </a:extLst>
          </p:cNvPr>
          <p:cNvSpPr txBox="1"/>
          <p:nvPr/>
        </p:nvSpPr>
        <p:spPr>
          <a:xfrm>
            <a:off x="11558187" y="35533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5B77FD62-F375-40BF-A635-0F86D4274581}"/>
              </a:ext>
            </a:extLst>
          </p:cNvPr>
          <p:cNvSpPr txBox="1"/>
          <p:nvPr/>
        </p:nvSpPr>
        <p:spPr>
          <a:xfrm>
            <a:off x="11577452" y="46216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6B5697D9-F2B4-42B4-B771-A4D90D623012}"/>
              </a:ext>
            </a:extLst>
          </p:cNvPr>
          <p:cNvSpPr txBox="1"/>
          <p:nvPr/>
        </p:nvSpPr>
        <p:spPr>
          <a:xfrm>
            <a:off x="5470252" y="1231063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4. 7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5781225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205115" y="2939231"/>
            <a:ext cx="11820525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ůměrný počet nově prokázaných případů onemocnění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l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 150 denně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Relativní pozitivita indikovaných testů dosáhla velmi nízkých a bezpečných hodnot. Počet nově nakažených potenciálně zranitelných skupin obyvatel je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ízký (v jednotkách denně)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sledních cca 10 dnech se zvyšuje počet nově zachycených nákaz u mladých lidí, zejména ve věku 16 – 29 let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339522" y="2397456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70512" y="219666"/>
            <a:ext cx="11249025" cy="2029012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na populační úrovni </a:t>
            </a:r>
            <a:r>
              <a:rPr kumimoji="0" lang="cs-CZ" sz="4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gnuje na relativně nízkých počtech nových případů denně. Nově potvrzené případy mají v naprosté většině nezávažný průběh nemoci, z</a:t>
            </a:r>
            <a:r>
              <a:rPr kumimoji="0" lang="cs-CZ" sz="40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těž</a:t>
            </a:r>
            <a:r>
              <a:rPr kumimoji="0" lang="cs-CZ" sz="4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mocnic je </a:t>
            </a:r>
            <a:r>
              <a:rPr kumimoji="0" lang="cs-CZ" sz="4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lmi nízká a stále klesá. </a:t>
            </a:r>
            <a:endParaRPr kumimoji="0" lang="cs-CZ" sz="4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339522" y="6052342"/>
            <a:ext cx="1551709" cy="39249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22679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ahnutá šipka nahoru 25">
            <a:extLst>
              <a:ext uri="{FF2B5EF4-FFF2-40B4-BE49-F238E27FC236}">
                <a16:creationId xmlns:a16="http://schemas.microsoft.com/office/drawing/2014/main" id="{BE2CE7C1-3A74-4934-8D60-F2A40FAF1BD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970832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Zahnutá šipka nahoru 25">
            <a:extLst>
              <a:ext uri="{FF2B5EF4-FFF2-40B4-BE49-F238E27FC236}">
                <a16:creationId xmlns:a16="http://schemas.microsoft.com/office/drawing/2014/main" id="{973F96E0-5029-4DAD-B994-FC12237E1DE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172714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C1D5899A-F6CE-4E23-BEA4-EDE2E9027A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374596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9F9E9BF2-2D29-4EE2-8F98-648A1F28D69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ů pozitivních diagnóz ukazuje na pokračující zpomalování epidemie</a:t>
            </a:r>
          </a:p>
        </p:txBody>
      </p: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13ACE42F-C9D2-4F7F-BEC7-4E1B8F546CCA}"/>
              </a:ext>
            </a:extLst>
          </p:cNvPr>
          <p:cNvCxnSpPr/>
          <p:nvPr>
            <p:custDataLst>
              <p:tags r:id="rId5"/>
            </p:custDataLst>
          </p:nvPr>
        </p:nvCxnSpPr>
        <p:spPr>
          <a:xfrm>
            <a:off x="6445045" y="5279923"/>
            <a:ext cx="5249471" cy="4277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Chart 4">
            <a:extLst>
              <a:ext uri="{FF2B5EF4-FFF2-40B4-BE49-F238E27FC236}">
                <a16:creationId xmlns:a16="http://schemas.microsoft.com/office/drawing/2014/main" id="{E1B8A7D1-9A51-4D2E-A658-C7F47EA3B68B}"/>
              </a:ext>
            </a:extLst>
          </p:cNvPr>
          <p:cNvGraphicFramePr/>
          <p:nvPr/>
        </p:nvGraphicFramePr>
        <p:xfrm>
          <a:off x="57147" y="2895383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3" name="Table 11">
            <a:extLst>
              <a:ext uri="{FF2B5EF4-FFF2-40B4-BE49-F238E27FC236}">
                <a16:creationId xmlns:a16="http://schemas.microsoft.com/office/drawing/2014/main" id="{D2AA32E0-7713-4E4C-A46C-23C92B6A134C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11558889"/>
              </p:ext>
            </p:extLst>
          </p:nvPr>
        </p:nvGraphicFramePr>
        <p:xfrm>
          <a:off x="980469" y="617201"/>
          <a:ext cx="10328489" cy="302589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1. 5.–6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. 6.–13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. 6.–20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. 6.–27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. 6</a:t>
                      </a:r>
                      <a:r>
                        <a:rPr lang="cs-CZ" sz="1600" b="1" i="0" u="sng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–5. 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9,3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4,2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6,3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45,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6308715"/>
                  </a:ext>
                </a:extLst>
              </a:tr>
              <a:tr h="409445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cs-CZ" sz="20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ktuální odhad pro ČR: 1,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2000" b="1" i="0" u="sng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50514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2153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1392507" y="1602506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3842" y="755669"/>
            <a:ext cx="113442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</a:t>
            </a: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louhodobě klesla ve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šech věkových kategoriích dospělých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znamně i v kategoriích seniorního věku – 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liv očkování </a:t>
            </a:r>
          </a:p>
        </p:txBody>
      </p:sp>
      <p:sp>
        <p:nvSpPr>
          <p:cNvPr id="6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326153" y="3685885"/>
            <a:ext cx="3859149" cy="11985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posledních cca 10 dnech se zvyšuje počet nově zachycených nákaz u mladých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spělých ve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ěku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d 18 let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0789068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6.xml><?xml version="1.0" encoding="utf-8"?>
<a:theme xmlns:a="http://schemas.openxmlformats.org/drawingml/2006/main" name="4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8.xml><?xml version="1.0" encoding="utf-8"?>
<a:theme xmlns:a="http://schemas.openxmlformats.org/drawingml/2006/main" name="6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5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976</TotalTime>
  <Words>6404</Words>
  <Application>Microsoft Office PowerPoint</Application>
  <PresentationFormat>Širokoúhlá obrazovka</PresentationFormat>
  <Paragraphs>796</Paragraphs>
  <Slides>40</Slides>
  <Notes>5</Notes>
  <HiddenSlides>0</HiddenSlides>
  <MMClips>0</MMClips>
  <ScaleCrop>false</ScaleCrop>
  <HeadingPairs>
    <vt:vector size="6" baseType="variant">
      <vt:variant>
        <vt:lpstr>Použitá písma</vt:lpstr>
      </vt:variant>
      <vt:variant>
        <vt:i4>4</vt:i4>
      </vt:variant>
      <vt:variant>
        <vt:lpstr>Motiv</vt:lpstr>
      </vt:variant>
      <vt:variant>
        <vt:i4>9</vt:i4>
      </vt:variant>
      <vt:variant>
        <vt:lpstr>Nadpisy snímků</vt:lpstr>
      </vt:variant>
      <vt:variant>
        <vt:i4>40</vt:i4>
      </vt:variant>
    </vt:vector>
  </HeadingPairs>
  <TitlesOfParts>
    <vt:vector size="53" baseType="lpstr">
      <vt:lpstr>Arial</vt:lpstr>
      <vt:lpstr>Calibri</vt:lpstr>
      <vt:lpstr>Calibri Light</vt:lpstr>
      <vt:lpstr>Segoe UI</vt:lpstr>
      <vt:lpstr>Motiv Office</vt:lpstr>
      <vt:lpstr>1_Motiv systému Office</vt:lpstr>
      <vt:lpstr>1_Motiv Office</vt:lpstr>
      <vt:lpstr>2_Motiv Office</vt:lpstr>
      <vt:lpstr>3_Motiv Office</vt:lpstr>
      <vt:lpstr>4_Motiv Office</vt:lpstr>
      <vt:lpstr>7_Motiv Office</vt:lpstr>
      <vt:lpstr>6_Motiv Office</vt:lpstr>
      <vt:lpstr>5_Motiv Office</vt:lpstr>
      <vt:lpstr>Datová a informační základna  pro management pandemie COVID-19</vt:lpstr>
      <vt:lpstr>Datová a informační základna  pro management pandemie COVID-19</vt:lpstr>
      <vt:lpstr>Scénáře pro  vývoj epidemie v červnu/červenci</vt:lpstr>
      <vt:lpstr>Predikce ve třech scénářích</vt:lpstr>
      <vt:lpstr>Rekalibrace prediktivního modelu pro nové scénáře</vt:lpstr>
      <vt:lpstr>Modelové scénáře: 7denní hodnoty na 100 tisíc obyvatel</vt:lpstr>
      <vt:lpstr>Prezentace aplikace PowerPoint</vt:lpstr>
      <vt:lpstr>Prezentace aplikace PowerPoint</vt:lpstr>
      <vt:lpstr>Počty COVID-19 pozitivních v ČR na 100 000 v populaci</vt:lpstr>
      <vt:lpstr>Počty COVID-19 pozitivních v ČR na 100 000 v populaci</vt:lpstr>
      <vt:lpstr>Datová a informační základna  pro management pandemie COVID-19</vt:lpstr>
      <vt:lpstr>Scénáře pro dlouhodobé simulace zahrnující efekt vakcinace </vt:lpstr>
      <vt:lpstr>Scénáře dlouhodobých simulací z 12. 5. 2021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Zpomalení šíření infekce v důsledku snížení počtu vnímavých jedinců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Národní dispečink lůžkové péče</vt:lpstr>
      <vt:lpstr>Národní dispečink lůžkové péče</vt:lpstr>
      <vt:lpstr>Datová a informační základna  pro management pandemie COVID-19</vt:lpstr>
      <vt:lpstr>Prezentace aplikace PowerPoint</vt:lpstr>
      <vt:lpstr>Predikovaný počet aktuálně hospitalizovaných</vt:lpstr>
      <vt:lpstr>Predikovaný počet aktuálně hospitalizovaných na JIP</vt:lpstr>
      <vt:lpstr>Predikovaný počet nových hospitalizačních případů</vt:lpstr>
      <vt:lpstr>Predikovaný počet zemřelých</vt:lpstr>
      <vt:lpstr>Datová a informační základna  pro management pandemie COVID-19</vt:lpstr>
      <vt:lpstr>Předpoklady:  projekce počtu vakcinovaných</vt:lpstr>
      <vt:lpstr>Potenciální projekce: absolutně</vt:lpstr>
      <vt:lpstr>Potenciální projekce: proočkovanos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Ladislav Dušek</cp:lastModifiedBy>
  <cp:revision>2028</cp:revision>
  <dcterms:created xsi:type="dcterms:W3CDTF">2020-03-16T10:06:11Z</dcterms:created>
  <dcterms:modified xsi:type="dcterms:W3CDTF">2021-07-06T15:32:18Z</dcterms:modified>
</cp:coreProperties>
</file>